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3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4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9" r:id="rId2"/>
    <p:sldMasterId id="2147483759" r:id="rId3"/>
    <p:sldMasterId id="2147483809" r:id="rId4"/>
    <p:sldMasterId id="2147483859" r:id="rId5"/>
  </p:sldMasterIdLst>
  <p:notesMasterIdLst>
    <p:notesMasterId r:id="rId28"/>
  </p:notesMasterIdLst>
  <p:sldIdLst>
    <p:sldId id="257" r:id="rId6"/>
    <p:sldId id="259" r:id="rId7"/>
    <p:sldId id="273" r:id="rId8"/>
    <p:sldId id="260" r:id="rId9"/>
    <p:sldId id="270" r:id="rId10"/>
    <p:sldId id="383" r:id="rId11"/>
    <p:sldId id="382" r:id="rId12"/>
    <p:sldId id="2147475026" r:id="rId13"/>
    <p:sldId id="2147475027" r:id="rId14"/>
    <p:sldId id="261" r:id="rId15"/>
    <p:sldId id="407" r:id="rId16"/>
    <p:sldId id="269" r:id="rId17"/>
    <p:sldId id="263" r:id="rId18"/>
    <p:sldId id="2147475028" r:id="rId19"/>
    <p:sldId id="264" r:id="rId20"/>
    <p:sldId id="842" r:id="rId21"/>
    <p:sldId id="402" r:id="rId22"/>
    <p:sldId id="2147474907" r:id="rId23"/>
    <p:sldId id="2147475024" r:id="rId24"/>
    <p:sldId id="794" r:id="rId25"/>
    <p:sldId id="2147475025" r:id="rId26"/>
    <p:sldId id="258" r:id="rId27"/>
  </p:sldIdLst>
  <p:sldSz cx="12192000" cy="6858000"/>
  <p:notesSz cx="6858000" cy="9144000"/>
  <p:custDataLst>
    <p:tags r:id="rId29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Arial" panose="020B0604020202020204" pitchFamily="34" charset="0"/>
      <a:buNone/>
      <a:defRPr sz="1400" b="1" kern="1200">
        <a:solidFill>
          <a:schemeClr val="tx2"/>
        </a:solidFill>
        <a:latin typeface="+mn-lt"/>
        <a:ea typeface="+mn-ea"/>
        <a:cs typeface="+mn-cs"/>
      </a:defRPr>
    </a:lvl1pPr>
    <a:lvl2pPr marL="270000" indent="-27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Char char="-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540000" indent="-27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810000" indent="-27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Char char="-"/>
      <a:defRPr sz="1400" b="0" kern="1200">
        <a:solidFill>
          <a:schemeClr val="tx2"/>
        </a:solidFill>
        <a:latin typeface="+mn-lt"/>
        <a:ea typeface="+mn-ea"/>
        <a:cs typeface="+mn-cs"/>
      </a:defRPr>
    </a:lvl4pPr>
    <a:lvl5pPr marL="0" indent="0" algn="ctr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None/>
      <a:defRPr sz="1400" b="1" kern="1200">
        <a:solidFill>
          <a:schemeClr val="tx2"/>
        </a:solidFill>
        <a:latin typeface="+mn-lt"/>
        <a:ea typeface="+mn-ea"/>
        <a:cs typeface="+mn-cs"/>
      </a:defRPr>
    </a:lvl5pPr>
    <a:lvl6pPr marL="0" indent="0" algn="ctr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None/>
      <a:defRPr sz="2000" b="1" kern="1200">
        <a:solidFill>
          <a:schemeClr val="tx2"/>
        </a:solidFill>
        <a:latin typeface="+mn-lt"/>
        <a:ea typeface="+mn-ea"/>
        <a:cs typeface="+mn-cs"/>
      </a:defRPr>
    </a:lvl6pPr>
    <a:lvl7pPr marL="0" indent="0" algn="ctr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Arial" panose="020B0604020202020204" pitchFamily="34" charset="0"/>
      <a:buNone/>
      <a:defRPr sz="3000" b="0" kern="1200">
        <a:solidFill>
          <a:schemeClr val="tx2"/>
        </a:solidFill>
        <a:latin typeface="+mn-lt"/>
        <a:ea typeface="+mn-ea"/>
        <a:cs typeface="+mn-cs"/>
      </a:defRPr>
    </a:lvl7pPr>
    <a:lvl8pPr marL="0" indent="0" algn="ctr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None/>
      <a:defRPr sz="4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lnSpc>
        <a:spcPct val="110000"/>
      </a:lnSpc>
      <a:spcBef>
        <a:spcPts val="0"/>
      </a:spcBef>
      <a:buFont typeface="Arial" panose="020B0604020202020204" pitchFamily="34" charset="0"/>
      <a:buNone/>
      <a:defRPr sz="900" kern="1200">
        <a:solidFill>
          <a:schemeClr val="tx2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E9E9E9"/>
    <a:srgbClr val="F5D9E1"/>
    <a:srgbClr val="CE4169"/>
    <a:srgbClr val="FFC6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70395" autoAdjust="0"/>
  </p:normalViewPr>
  <p:slideViewPr>
    <p:cSldViewPr snapToGrid="0">
      <p:cViewPr>
        <p:scale>
          <a:sx n="65" d="100"/>
          <a:sy n="65" d="100"/>
        </p:scale>
        <p:origin x="288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yan Urbano" userId="1663610d-6c4d-44f5-8cfb-5cafa0e9adba" providerId="ADAL" clId="{C41A9FE0-C2A3-4F34-ABC2-854CDB71B6D3}"/>
    <pc:docChg chg="undo custSel addSld delSld modSld">
      <pc:chgData name="Bryan Urbano" userId="1663610d-6c4d-44f5-8cfb-5cafa0e9adba" providerId="ADAL" clId="{C41A9FE0-C2A3-4F34-ABC2-854CDB71B6D3}" dt="2025-09-24T14:38:23.018" v="674"/>
      <pc:docMkLst>
        <pc:docMk/>
      </pc:docMkLst>
      <pc:sldChg chg="modTransition">
        <pc:chgData name="Bryan Urbano" userId="1663610d-6c4d-44f5-8cfb-5cafa0e9adba" providerId="ADAL" clId="{C41A9FE0-C2A3-4F34-ABC2-854CDB71B6D3}" dt="2025-09-24T06:40:14.571" v="0"/>
        <pc:sldMkLst>
          <pc:docMk/>
          <pc:sldMk cId="970279189" sldId="259"/>
        </pc:sldMkLst>
      </pc:sldChg>
      <pc:sldChg chg="addSp modSp mod modTransition modAnim">
        <pc:chgData name="Bryan Urbano" userId="1663610d-6c4d-44f5-8cfb-5cafa0e9adba" providerId="ADAL" clId="{C41A9FE0-C2A3-4F34-ABC2-854CDB71B6D3}" dt="2025-09-24T06:48:37.931" v="203"/>
        <pc:sldMkLst>
          <pc:docMk/>
          <pc:sldMk cId="593826711" sldId="260"/>
        </pc:sldMkLst>
        <pc:spChg chg="add mod">
          <ac:chgData name="Bryan Urbano" userId="1663610d-6c4d-44f5-8cfb-5cafa0e9adba" providerId="ADAL" clId="{C41A9FE0-C2A3-4F34-ABC2-854CDB71B6D3}" dt="2025-09-24T06:48:07.177" v="197" actId="207"/>
          <ac:spMkLst>
            <pc:docMk/>
            <pc:sldMk cId="593826711" sldId="260"/>
            <ac:spMk id="23" creationId="{9EE969D4-A706-475A-B6E2-B408EE315193}"/>
          </ac:spMkLst>
        </pc:spChg>
        <pc:spChg chg="add mod">
          <ac:chgData name="Bryan Urbano" userId="1663610d-6c4d-44f5-8cfb-5cafa0e9adba" providerId="ADAL" clId="{C41A9FE0-C2A3-4F34-ABC2-854CDB71B6D3}" dt="2025-09-24T06:48:27.294" v="201" actId="1076"/>
          <ac:spMkLst>
            <pc:docMk/>
            <pc:sldMk cId="593826711" sldId="260"/>
            <ac:spMk id="24" creationId="{E549C011-6E01-4C20-EEB9-2309E1107D4E}"/>
          </ac:spMkLst>
        </pc:spChg>
      </pc:sldChg>
      <pc:sldChg chg="modTransition modAnim">
        <pc:chgData name="Bryan Urbano" userId="1663610d-6c4d-44f5-8cfb-5cafa0e9adba" providerId="ADAL" clId="{C41A9FE0-C2A3-4F34-ABC2-854CDB71B6D3}" dt="2025-09-24T06:50:00.507" v="215"/>
        <pc:sldMkLst>
          <pc:docMk/>
          <pc:sldMk cId="3253375495" sldId="261"/>
        </pc:sldMkLst>
      </pc:sldChg>
      <pc:sldChg chg="addSp modSp mod modTransition modAnim">
        <pc:chgData name="Bryan Urbano" userId="1663610d-6c4d-44f5-8cfb-5cafa0e9adba" providerId="ADAL" clId="{C41A9FE0-C2A3-4F34-ABC2-854CDB71B6D3}" dt="2025-09-24T14:34:56.538" v="662"/>
        <pc:sldMkLst>
          <pc:docMk/>
          <pc:sldMk cId="556070269" sldId="263"/>
        </pc:sldMkLst>
        <pc:spChg chg="mod">
          <ac:chgData name="Bryan Urbano" userId="1663610d-6c4d-44f5-8cfb-5cafa0e9adba" providerId="ADAL" clId="{C41A9FE0-C2A3-4F34-ABC2-854CDB71B6D3}" dt="2025-09-24T06:55:19.260" v="272" actId="20577"/>
          <ac:spMkLst>
            <pc:docMk/>
            <pc:sldMk cId="556070269" sldId="263"/>
            <ac:spMk id="2" creationId="{9F247DFD-7ACE-6CB1-82ED-1A898B728239}"/>
          </ac:spMkLst>
        </pc:spChg>
        <pc:spChg chg="mod">
          <ac:chgData name="Bryan Urbano" userId="1663610d-6c4d-44f5-8cfb-5cafa0e9adba" providerId="ADAL" clId="{C41A9FE0-C2A3-4F34-ABC2-854CDB71B6D3}" dt="2025-09-24T06:55:24.465" v="273" actId="21"/>
          <ac:spMkLst>
            <pc:docMk/>
            <pc:sldMk cId="556070269" sldId="263"/>
            <ac:spMk id="3" creationId="{A77DCE92-EF52-8D83-1511-FC3B4DA0C8F8}"/>
          </ac:spMkLst>
        </pc:spChg>
        <pc:spChg chg="mod">
          <ac:chgData name="Bryan Urbano" userId="1663610d-6c4d-44f5-8cfb-5cafa0e9adba" providerId="ADAL" clId="{C41A9FE0-C2A3-4F34-ABC2-854CDB71B6D3}" dt="2025-09-24T06:57:46.471" v="378" actId="20577"/>
          <ac:spMkLst>
            <pc:docMk/>
            <pc:sldMk cId="556070269" sldId="263"/>
            <ac:spMk id="5" creationId="{5E991DEB-636A-408B-12D0-7D91CB2E616B}"/>
          </ac:spMkLst>
        </pc:spChg>
        <pc:spChg chg="add mod">
          <ac:chgData name="Bryan Urbano" userId="1663610d-6c4d-44f5-8cfb-5cafa0e9adba" providerId="ADAL" clId="{C41A9FE0-C2A3-4F34-ABC2-854CDB71B6D3}" dt="2025-09-24T06:56:39.789" v="310" actId="1076"/>
          <ac:spMkLst>
            <pc:docMk/>
            <pc:sldMk cId="556070269" sldId="263"/>
            <ac:spMk id="9" creationId="{993D72DF-A397-90EE-3492-9FB1A6E4DD64}"/>
          </ac:spMkLst>
        </pc:spChg>
        <pc:spChg chg="add mod">
          <ac:chgData name="Bryan Urbano" userId="1663610d-6c4d-44f5-8cfb-5cafa0e9adba" providerId="ADAL" clId="{C41A9FE0-C2A3-4F34-ABC2-854CDB71B6D3}" dt="2025-09-24T06:56:59.859" v="354" actId="20577"/>
          <ac:spMkLst>
            <pc:docMk/>
            <pc:sldMk cId="556070269" sldId="263"/>
            <ac:spMk id="10" creationId="{4ED90DAF-F941-2962-952E-42B1CDB54AC7}"/>
          </ac:spMkLst>
        </pc:spChg>
        <pc:spChg chg="add mod">
          <ac:chgData name="Bryan Urbano" userId="1663610d-6c4d-44f5-8cfb-5cafa0e9adba" providerId="ADAL" clId="{C41A9FE0-C2A3-4F34-ABC2-854CDB71B6D3}" dt="2025-09-24T07:00:33.498" v="393" actId="207"/>
          <ac:spMkLst>
            <pc:docMk/>
            <pc:sldMk cId="556070269" sldId="263"/>
            <ac:spMk id="11" creationId="{3EDBD052-EAF9-9606-1FD5-01779D69CE0D}"/>
          </ac:spMkLst>
        </pc:spChg>
        <pc:spChg chg="add mod">
          <ac:chgData name="Bryan Urbano" userId="1663610d-6c4d-44f5-8cfb-5cafa0e9adba" providerId="ADAL" clId="{C41A9FE0-C2A3-4F34-ABC2-854CDB71B6D3}" dt="2025-09-24T07:00:30.605" v="392" actId="207"/>
          <ac:spMkLst>
            <pc:docMk/>
            <pc:sldMk cId="556070269" sldId="263"/>
            <ac:spMk id="12" creationId="{6502E29F-D32D-570D-5B5F-FBC7F0C366CB}"/>
          </ac:spMkLst>
        </pc:spChg>
        <pc:spChg chg="add mod">
          <ac:chgData name="Bryan Urbano" userId="1663610d-6c4d-44f5-8cfb-5cafa0e9adba" providerId="ADAL" clId="{C41A9FE0-C2A3-4F34-ABC2-854CDB71B6D3}" dt="2025-09-24T07:00:52.687" v="396" actId="20577"/>
          <ac:spMkLst>
            <pc:docMk/>
            <pc:sldMk cId="556070269" sldId="263"/>
            <ac:spMk id="13" creationId="{11F1C558-D16C-0765-D951-4E9D5A5C8090}"/>
          </ac:spMkLst>
        </pc:spChg>
        <pc:spChg chg="add mod">
          <ac:chgData name="Bryan Urbano" userId="1663610d-6c4d-44f5-8cfb-5cafa0e9adba" providerId="ADAL" clId="{C41A9FE0-C2A3-4F34-ABC2-854CDB71B6D3}" dt="2025-09-24T07:01:08" v="406" actId="20577"/>
          <ac:spMkLst>
            <pc:docMk/>
            <pc:sldMk cId="556070269" sldId="263"/>
            <ac:spMk id="14" creationId="{3AB30088-9165-DEA5-CDC2-7F3E5BF28D18}"/>
          </ac:spMkLst>
        </pc:spChg>
        <pc:spChg chg="add mod">
          <ac:chgData name="Bryan Urbano" userId="1663610d-6c4d-44f5-8cfb-5cafa0e9adba" providerId="ADAL" clId="{C41A9FE0-C2A3-4F34-ABC2-854CDB71B6D3}" dt="2025-09-24T07:01:27.999" v="411" actId="1076"/>
          <ac:spMkLst>
            <pc:docMk/>
            <pc:sldMk cId="556070269" sldId="263"/>
            <ac:spMk id="15" creationId="{FDD33EB9-304D-89F8-449A-D33B2A3D0459}"/>
          </ac:spMkLst>
        </pc:spChg>
        <pc:spChg chg="add mod">
          <ac:chgData name="Bryan Urbano" userId="1663610d-6c4d-44f5-8cfb-5cafa0e9adba" providerId="ADAL" clId="{C41A9FE0-C2A3-4F34-ABC2-854CDB71B6D3}" dt="2025-09-24T07:01:47.393" v="430" actId="6549"/>
          <ac:spMkLst>
            <pc:docMk/>
            <pc:sldMk cId="556070269" sldId="263"/>
            <ac:spMk id="16" creationId="{86E7FEAA-6183-C4BC-EA94-8D1B02B2D739}"/>
          </ac:spMkLst>
        </pc:spChg>
        <pc:spChg chg="add mod">
          <ac:chgData name="Bryan Urbano" userId="1663610d-6c4d-44f5-8cfb-5cafa0e9adba" providerId="ADAL" clId="{C41A9FE0-C2A3-4F34-ABC2-854CDB71B6D3}" dt="2025-09-24T07:02:04.161" v="433" actId="14100"/>
          <ac:spMkLst>
            <pc:docMk/>
            <pc:sldMk cId="556070269" sldId="263"/>
            <ac:spMk id="17" creationId="{87991253-F8B3-7A9A-2ED2-A16082D2A7EA}"/>
          </ac:spMkLst>
        </pc:spChg>
        <pc:spChg chg="add mod">
          <ac:chgData name="Bryan Urbano" userId="1663610d-6c4d-44f5-8cfb-5cafa0e9adba" providerId="ADAL" clId="{C41A9FE0-C2A3-4F34-ABC2-854CDB71B6D3}" dt="2025-09-24T07:02:52.710" v="452" actId="403"/>
          <ac:spMkLst>
            <pc:docMk/>
            <pc:sldMk cId="556070269" sldId="263"/>
            <ac:spMk id="20" creationId="{442E2B33-95C3-6548-6E35-71368C26450A}"/>
          </ac:spMkLst>
        </pc:spChg>
        <pc:spChg chg="mod">
          <ac:chgData name="Bryan Urbano" userId="1663610d-6c4d-44f5-8cfb-5cafa0e9adba" providerId="ADAL" clId="{C41A9FE0-C2A3-4F34-ABC2-854CDB71B6D3}" dt="2025-09-24T14:34:56.538" v="662"/>
          <ac:spMkLst>
            <pc:docMk/>
            <pc:sldMk cId="556070269" sldId="263"/>
            <ac:spMk id="24" creationId="{68C63779-6E29-A749-FE89-7206ED642C16}"/>
          </ac:spMkLst>
        </pc:spChg>
        <pc:spChg chg="mod">
          <ac:chgData name="Bryan Urbano" userId="1663610d-6c4d-44f5-8cfb-5cafa0e9adba" providerId="ADAL" clId="{C41A9FE0-C2A3-4F34-ABC2-854CDB71B6D3}" dt="2025-09-24T14:34:56.538" v="662"/>
          <ac:spMkLst>
            <pc:docMk/>
            <pc:sldMk cId="556070269" sldId="263"/>
            <ac:spMk id="25" creationId="{ACFBBB32-0844-FF6F-2C3D-C2DDD1F49E1F}"/>
          </ac:spMkLst>
        </pc:spChg>
        <pc:spChg chg="mod">
          <ac:chgData name="Bryan Urbano" userId="1663610d-6c4d-44f5-8cfb-5cafa0e9adba" providerId="ADAL" clId="{C41A9FE0-C2A3-4F34-ABC2-854CDB71B6D3}" dt="2025-09-24T14:34:56.538" v="662"/>
          <ac:spMkLst>
            <pc:docMk/>
            <pc:sldMk cId="556070269" sldId="263"/>
            <ac:spMk id="26" creationId="{FC7C004A-0CCA-4A1D-CF9F-B0798350CA2A}"/>
          </ac:spMkLst>
        </pc:spChg>
        <pc:spChg chg="mod">
          <ac:chgData name="Bryan Urbano" userId="1663610d-6c4d-44f5-8cfb-5cafa0e9adba" providerId="ADAL" clId="{C41A9FE0-C2A3-4F34-ABC2-854CDB71B6D3}" dt="2025-09-24T14:34:56.538" v="662"/>
          <ac:spMkLst>
            <pc:docMk/>
            <pc:sldMk cId="556070269" sldId="263"/>
            <ac:spMk id="27" creationId="{53D70C87-D251-0363-9B85-608659FAF66A}"/>
          </ac:spMkLst>
        </pc:spChg>
        <pc:spChg chg="mod">
          <ac:chgData name="Bryan Urbano" userId="1663610d-6c4d-44f5-8cfb-5cafa0e9adba" providerId="ADAL" clId="{C41A9FE0-C2A3-4F34-ABC2-854CDB71B6D3}" dt="2025-09-24T14:34:56.538" v="662"/>
          <ac:spMkLst>
            <pc:docMk/>
            <pc:sldMk cId="556070269" sldId="263"/>
            <ac:spMk id="28" creationId="{2B07EB83-BE43-867D-AFF7-DB191E2A58C2}"/>
          </ac:spMkLst>
        </pc:spChg>
        <pc:spChg chg="mod">
          <ac:chgData name="Bryan Urbano" userId="1663610d-6c4d-44f5-8cfb-5cafa0e9adba" providerId="ADAL" clId="{C41A9FE0-C2A3-4F34-ABC2-854CDB71B6D3}" dt="2025-09-24T14:34:56.538" v="662"/>
          <ac:spMkLst>
            <pc:docMk/>
            <pc:sldMk cId="556070269" sldId="263"/>
            <ac:spMk id="31" creationId="{BF2B5DF4-2F80-4C15-735D-01762A02442C}"/>
          </ac:spMkLst>
        </pc:spChg>
        <pc:spChg chg="mod">
          <ac:chgData name="Bryan Urbano" userId="1663610d-6c4d-44f5-8cfb-5cafa0e9adba" providerId="ADAL" clId="{C41A9FE0-C2A3-4F34-ABC2-854CDB71B6D3}" dt="2025-09-24T14:34:56.538" v="662"/>
          <ac:spMkLst>
            <pc:docMk/>
            <pc:sldMk cId="556070269" sldId="263"/>
            <ac:spMk id="32" creationId="{0A51D392-EBE9-A92A-39E1-B03DB8548F19}"/>
          </ac:spMkLst>
        </pc:spChg>
        <pc:spChg chg="mod">
          <ac:chgData name="Bryan Urbano" userId="1663610d-6c4d-44f5-8cfb-5cafa0e9adba" providerId="ADAL" clId="{C41A9FE0-C2A3-4F34-ABC2-854CDB71B6D3}" dt="2025-09-24T14:34:56.538" v="662"/>
          <ac:spMkLst>
            <pc:docMk/>
            <pc:sldMk cId="556070269" sldId="263"/>
            <ac:spMk id="33" creationId="{D0861778-8509-A115-B4BB-70C6EC8CF4D3}"/>
          </ac:spMkLst>
        </pc:spChg>
        <pc:spChg chg="mod">
          <ac:chgData name="Bryan Urbano" userId="1663610d-6c4d-44f5-8cfb-5cafa0e9adba" providerId="ADAL" clId="{C41A9FE0-C2A3-4F34-ABC2-854CDB71B6D3}" dt="2025-09-24T14:34:56.538" v="662"/>
          <ac:spMkLst>
            <pc:docMk/>
            <pc:sldMk cId="556070269" sldId="263"/>
            <ac:spMk id="34" creationId="{DAFDA407-B96C-EE0D-46BF-CDA1B4F21C3C}"/>
          </ac:spMkLst>
        </pc:spChg>
        <pc:spChg chg="mod">
          <ac:chgData name="Bryan Urbano" userId="1663610d-6c4d-44f5-8cfb-5cafa0e9adba" providerId="ADAL" clId="{C41A9FE0-C2A3-4F34-ABC2-854CDB71B6D3}" dt="2025-09-24T14:34:56.538" v="662"/>
          <ac:spMkLst>
            <pc:docMk/>
            <pc:sldMk cId="556070269" sldId="263"/>
            <ac:spMk id="35" creationId="{5881672B-51BF-2252-26FF-EEAB724D14CF}"/>
          </ac:spMkLst>
        </pc:spChg>
        <pc:cxnChg chg="add mod">
          <ac:chgData name="Bryan Urbano" userId="1663610d-6c4d-44f5-8cfb-5cafa0e9adba" providerId="ADAL" clId="{C41A9FE0-C2A3-4F34-ABC2-854CDB71B6D3}" dt="2025-09-24T06:56:16.416" v="275" actId="1582"/>
          <ac:cxnSpMkLst>
            <pc:docMk/>
            <pc:sldMk cId="556070269" sldId="263"/>
            <ac:cxnSpMk id="7" creationId="{1F189576-83AE-EA72-3280-791CCDCC3D58}"/>
          </ac:cxnSpMkLst>
        </pc:cxnChg>
        <pc:cxnChg chg="add mod">
          <ac:chgData name="Bryan Urbano" userId="1663610d-6c4d-44f5-8cfb-5cafa0e9adba" providerId="ADAL" clId="{C41A9FE0-C2A3-4F34-ABC2-854CDB71B6D3}" dt="2025-09-24T06:56:21.989" v="277" actId="1076"/>
          <ac:cxnSpMkLst>
            <pc:docMk/>
            <pc:sldMk cId="556070269" sldId="263"/>
            <ac:cxnSpMk id="8" creationId="{A4607F54-38FB-395D-9C2F-2CFFD1CB1B2E}"/>
          </ac:cxnSpMkLst>
        </pc:cxnChg>
        <pc:cxnChg chg="add">
          <ac:chgData name="Bryan Urbano" userId="1663610d-6c4d-44f5-8cfb-5cafa0e9adba" providerId="ADAL" clId="{C41A9FE0-C2A3-4F34-ABC2-854CDB71B6D3}" dt="2025-09-24T07:02:22.464" v="434" actId="11529"/>
          <ac:cxnSpMkLst>
            <pc:docMk/>
            <pc:sldMk cId="556070269" sldId="263"/>
            <ac:cxnSpMk id="19" creationId="{0DFE377C-589D-B22F-058E-45A9462A1450}"/>
          </ac:cxnSpMkLst>
        </pc:cxnChg>
      </pc:sldChg>
      <pc:sldChg chg="addSp modSp mod modTransition modAnim">
        <pc:chgData name="Bryan Urbano" userId="1663610d-6c4d-44f5-8cfb-5cafa0e9adba" providerId="ADAL" clId="{C41A9FE0-C2A3-4F34-ABC2-854CDB71B6D3}" dt="2025-09-24T14:38:23.018" v="674"/>
        <pc:sldMkLst>
          <pc:docMk/>
          <pc:sldMk cId="2598619058" sldId="264"/>
        </pc:sldMkLst>
        <pc:spChg chg="mod">
          <ac:chgData name="Bryan Urbano" userId="1663610d-6c4d-44f5-8cfb-5cafa0e9adba" providerId="ADAL" clId="{C41A9FE0-C2A3-4F34-ABC2-854CDB71B6D3}" dt="2025-09-24T14:31:18.443" v="603" actId="403"/>
          <ac:spMkLst>
            <pc:docMk/>
            <pc:sldMk cId="2598619058" sldId="264"/>
            <ac:spMk id="3" creationId="{BA0611B7-F69E-9337-0630-8A80D98D332E}"/>
          </ac:spMkLst>
        </pc:spChg>
        <pc:spChg chg="add mod">
          <ac:chgData name="Bryan Urbano" userId="1663610d-6c4d-44f5-8cfb-5cafa0e9adba" providerId="ADAL" clId="{C41A9FE0-C2A3-4F34-ABC2-854CDB71B6D3}" dt="2025-09-24T14:31:02.361" v="598" actId="207"/>
          <ac:spMkLst>
            <pc:docMk/>
            <pc:sldMk cId="2598619058" sldId="264"/>
            <ac:spMk id="5" creationId="{A9526186-3749-6C03-4E19-876FE9595DA7}"/>
          </ac:spMkLst>
        </pc:spChg>
        <pc:spChg chg="add mod">
          <ac:chgData name="Bryan Urbano" userId="1663610d-6c4d-44f5-8cfb-5cafa0e9adba" providerId="ADAL" clId="{C41A9FE0-C2A3-4F34-ABC2-854CDB71B6D3}" dt="2025-09-24T14:30:53.805" v="597" actId="20577"/>
          <ac:spMkLst>
            <pc:docMk/>
            <pc:sldMk cId="2598619058" sldId="264"/>
            <ac:spMk id="6" creationId="{1050F318-14EC-9508-BCEE-123CC768CBD3}"/>
          </ac:spMkLst>
        </pc:spChg>
        <pc:spChg chg="add mod">
          <ac:chgData name="Bryan Urbano" userId="1663610d-6c4d-44f5-8cfb-5cafa0e9adba" providerId="ADAL" clId="{C41A9FE0-C2A3-4F34-ABC2-854CDB71B6D3}" dt="2025-09-24T14:31:12.357" v="600" actId="1076"/>
          <ac:spMkLst>
            <pc:docMk/>
            <pc:sldMk cId="2598619058" sldId="264"/>
            <ac:spMk id="7" creationId="{A3192B2E-DCF4-1F77-8F16-347D2A843685}"/>
          </ac:spMkLst>
        </pc:spChg>
        <pc:spChg chg="mod">
          <ac:chgData name="Bryan Urbano" userId="1663610d-6c4d-44f5-8cfb-5cafa0e9adba" providerId="ADAL" clId="{C41A9FE0-C2A3-4F34-ABC2-854CDB71B6D3}" dt="2025-09-24T14:35:00.230" v="664"/>
          <ac:spMkLst>
            <pc:docMk/>
            <pc:sldMk cId="2598619058" sldId="264"/>
            <ac:spMk id="10" creationId="{AD4E92B6-C7BF-01A6-FD31-CF4618C74507}"/>
          </ac:spMkLst>
        </pc:spChg>
        <pc:spChg chg="mod">
          <ac:chgData name="Bryan Urbano" userId="1663610d-6c4d-44f5-8cfb-5cafa0e9adba" providerId="ADAL" clId="{C41A9FE0-C2A3-4F34-ABC2-854CDB71B6D3}" dt="2025-09-24T14:35:00.230" v="664"/>
          <ac:spMkLst>
            <pc:docMk/>
            <pc:sldMk cId="2598619058" sldId="264"/>
            <ac:spMk id="12" creationId="{96833B9C-CBAA-9475-3F9F-F056F4DD0E36}"/>
          </ac:spMkLst>
        </pc:spChg>
        <pc:spChg chg="mod">
          <ac:chgData name="Bryan Urbano" userId="1663610d-6c4d-44f5-8cfb-5cafa0e9adba" providerId="ADAL" clId="{C41A9FE0-C2A3-4F34-ABC2-854CDB71B6D3}" dt="2025-09-24T14:35:00.230" v="664"/>
          <ac:spMkLst>
            <pc:docMk/>
            <pc:sldMk cId="2598619058" sldId="264"/>
            <ac:spMk id="13" creationId="{F09EAC19-0BA5-B560-1CB0-C60D1D2DEAAF}"/>
          </ac:spMkLst>
        </pc:spChg>
        <pc:spChg chg="mod">
          <ac:chgData name="Bryan Urbano" userId="1663610d-6c4d-44f5-8cfb-5cafa0e9adba" providerId="ADAL" clId="{C41A9FE0-C2A3-4F34-ABC2-854CDB71B6D3}" dt="2025-09-24T14:35:00.230" v="664"/>
          <ac:spMkLst>
            <pc:docMk/>
            <pc:sldMk cId="2598619058" sldId="264"/>
            <ac:spMk id="14" creationId="{FD180770-1CDE-A327-C054-0D490461EED1}"/>
          </ac:spMkLst>
        </pc:spChg>
        <pc:spChg chg="mod">
          <ac:chgData name="Bryan Urbano" userId="1663610d-6c4d-44f5-8cfb-5cafa0e9adba" providerId="ADAL" clId="{C41A9FE0-C2A3-4F34-ABC2-854CDB71B6D3}" dt="2025-09-24T14:35:00.230" v="664"/>
          <ac:spMkLst>
            <pc:docMk/>
            <pc:sldMk cId="2598619058" sldId="264"/>
            <ac:spMk id="15" creationId="{523F4F07-FAB5-1C0A-9346-D62B13D57806}"/>
          </ac:spMkLst>
        </pc:spChg>
        <pc:spChg chg="mod">
          <ac:chgData name="Bryan Urbano" userId="1663610d-6c4d-44f5-8cfb-5cafa0e9adba" providerId="ADAL" clId="{C41A9FE0-C2A3-4F34-ABC2-854CDB71B6D3}" dt="2025-09-24T14:35:00.230" v="664"/>
          <ac:spMkLst>
            <pc:docMk/>
            <pc:sldMk cId="2598619058" sldId="264"/>
            <ac:spMk id="16" creationId="{52A58858-D3AC-678F-6434-74B078290D20}"/>
          </ac:spMkLst>
        </pc:spChg>
        <pc:spChg chg="mod">
          <ac:chgData name="Bryan Urbano" userId="1663610d-6c4d-44f5-8cfb-5cafa0e9adba" providerId="ADAL" clId="{C41A9FE0-C2A3-4F34-ABC2-854CDB71B6D3}" dt="2025-09-24T14:35:00.230" v="664"/>
          <ac:spMkLst>
            <pc:docMk/>
            <pc:sldMk cId="2598619058" sldId="264"/>
            <ac:spMk id="17" creationId="{E81F8B1E-983C-C53A-60DB-2B0BA5988192}"/>
          </ac:spMkLst>
        </pc:spChg>
        <pc:spChg chg="mod">
          <ac:chgData name="Bryan Urbano" userId="1663610d-6c4d-44f5-8cfb-5cafa0e9adba" providerId="ADAL" clId="{C41A9FE0-C2A3-4F34-ABC2-854CDB71B6D3}" dt="2025-09-24T14:35:00.230" v="664"/>
          <ac:spMkLst>
            <pc:docMk/>
            <pc:sldMk cId="2598619058" sldId="264"/>
            <ac:spMk id="19" creationId="{266529E5-A7F3-3E7B-FBCA-BA4D9CD5AD96}"/>
          </ac:spMkLst>
        </pc:spChg>
        <pc:spChg chg="mod">
          <ac:chgData name="Bryan Urbano" userId="1663610d-6c4d-44f5-8cfb-5cafa0e9adba" providerId="ADAL" clId="{C41A9FE0-C2A3-4F34-ABC2-854CDB71B6D3}" dt="2025-09-24T14:35:00.230" v="664"/>
          <ac:spMkLst>
            <pc:docMk/>
            <pc:sldMk cId="2598619058" sldId="264"/>
            <ac:spMk id="21" creationId="{DF4C47CE-82D3-383F-FDAF-79148E74BDFA}"/>
          </ac:spMkLst>
        </pc:spChg>
        <pc:spChg chg="mod">
          <ac:chgData name="Bryan Urbano" userId="1663610d-6c4d-44f5-8cfb-5cafa0e9adba" providerId="ADAL" clId="{C41A9FE0-C2A3-4F34-ABC2-854CDB71B6D3}" dt="2025-09-24T14:35:00.230" v="664"/>
          <ac:spMkLst>
            <pc:docMk/>
            <pc:sldMk cId="2598619058" sldId="264"/>
            <ac:spMk id="22" creationId="{82D7235F-94E7-1330-A218-310086933CEE}"/>
          </ac:spMkLst>
        </pc:spChg>
        <pc:spChg chg="add mod">
          <ac:chgData name="Bryan Urbano" userId="1663610d-6c4d-44f5-8cfb-5cafa0e9adba" providerId="ADAL" clId="{C41A9FE0-C2A3-4F34-ABC2-854CDB71B6D3}" dt="2025-09-24T14:37:03.560" v="673"/>
          <ac:spMkLst>
            <pc:docMk/>
            <pc:sldMk cId="2598619058" sldId="264"/>
            <ac:spMk id="23" creationId="{366C44FA-9E35-93DD-1BEB-1D2E739C60B6}"/>
          </ac:spMkLst>
        </pc:spChg>
      </pc:sldChg>
      <pc:sldChg chg="modSp del mod modTransition">
        <pc:chgData name="Bryan Urbano" userId="1663610d-6c4d-44f5-8cfb-5cafa0e9adba" providerId="ADAL" clId="{C41A9FE0-C2A3-4F34-ABC2-854CDB71B6D3}" dt="2025-09-24T06:46:43.304" v="188" actId="47"/>
        <pc:sldMkLst>
          <pc:docMk/>
          <pc:sldMk cId="1684834986" sldId="268"/>
        </pc:sldMkLst>
        <pc:spChg chg="mod">
          <ac:chgData name="Bryan Urbano" userId="1663610d-6c4d-44f5-8cfb-5cafa0e9adba" providerId="ADAL" clId="{C41A9FE0-C2A3-4F34-ABC2-854CDB71B6D3}" dt="2025-09-24T06:44:41.792" v="152" actId="21"/>
          <ac:spMkLst>
            <pc:docMk/>
            <pc:sldMk cId="1684834986" sldId="268"/>
            <ac:spMk id="2" creationId="{7FA1A931-9739-611E-079F-44EBC5CD1950}"/>
          </ac:spMkLst>
        </pc:spChg>
        <pc:spChg chg="mod">
          <ac:chgData name="Bryan Urbano" userId="1663610d-6c4d-44f5-8cfb-5cafa0e9adba" providerId="ADAL" clId="{C41A9FE0-C2A3-4F34-ABC2-854CDB71B6D3}" dt="2025-09-24T06:44:32.143" v="151" actId="21"/>
          <ac:spMkLst>
            <pc:docMk/>
            <pc:sldMk cId="1684834986" sldId="268"/>
            <ac:spMk id="3" creationId="{1C85B1B2-9802-0D61-EF45-5F2ED8F1EFC2}"/>
          </ac:spMkLst>
        </pc:spChg>
      </pc:sldChg>
      <pc:sldChg chg="addSp modSp mod modTransition modAnim">
        <pc:chgData name="Bryan Urbano" userId="1663610d-6c4d-44f5-8cfb-5cafa0e9adba" providerId="ADAL" clId="{C41A9FE0-C2A3-4F34-ABC2-854CDB71B6D3}" dt="2025-09-24T06:51:18.014" v="226"/>
        <pc:sldMkLst>
          <pc:docMk/>
          <pc:sldMk cId="77839698" sldId="269"/>
        </pc:sldMkLst>
        <pc:spChg chg="add mod">
          <ac:chgData name="Bryan Urbano" userId="1663610d-6c4d-44f5-8cfb-5cafa0e9adba" providerId="ADAL" clId="{C41A9FE0-C2A3-4F34-ABC2-854CDB71B6D3}" dt="2025-09-24T06:51:05.509" v="225" actId="207"/>
          <ac:spMkLst>
            <pc:docMk/>
            <pc:sldMk cId="77839698" sldId="269"/>
            <ac:spMk id="23" creationId="{DBD2D485-5CB1-7AB4-3C6A-C879716E66A6}"/>
          </ac:spMkLst>
        </pc:spChg>
      </pc:sldChg>
      <pc:sldChg chg="modTransition modAnim">
        <pc:chgData name="Bryan Urbano" userId="1663610d-6c4d-44f5-8cfb-5cafa0e9adba" providerId="ADAL" clId="{C41A9FE0-C2A3-4F34-ABC2-854CDB71B6D3}" dt="2025-09-24T06:49:01.334" v="206"/>
        <pc:sldMkLst>
          <pc:docMk/>
          <pc:sldMk cId="2514719063" sldId="270"/>
        </pc:sldMkLst>
      </pc:sldChg>
      <pc:sldChg chg="modSp del mod modTransition">
        <pc:chgData name="Bryan Urbano" userId="1663610d-6c4d-44f5-8cfb-5cafa0e9adba" providerId="ADAL" clId="{C41A9FE0-C2A3-4F34-ABC2-854CDB71B6D3}" dt="2025-09-24T14:34:41.851" v="660" actId="47"/>
        <pc:sldMkLst>
          <pc:docMk/>
          <pc:sldMk cId="3546150827" sldId="272"/>
        </pc:sldMkLst>
        <pc:spChg chg="mod">
          <ac:chgData name="Bryan Urbano" userId="1663610d-6c4d-44f5-8cfb-5cafa0e9adba" providerId="ADAL" clId="{C41A9FE0-C2A3-4F34-ABC2-854CDB71B6D3}" dt="2025-09-24T14:33:29.348" v="659" actId="21"/>
          <ac:spMkLst>
            <pc:docMk/>
            <pc:sldMk cId="3546150827" sldId="272"/>
            <ac:spMk id="3" creationId="{E4982D7D-7072-76AB-7873-5829813E5701}"/>
          </ac:spMkLst>
        </pc:spChg>
      </pc:sldChg>
      <pc:sldChg chg="modTransition modAnim">
        <pc:chgData name="Bryan Urbano" userId="1663610d-6c4d-44f5-8cfb-5cafa0e9adba" providerId="ADAL" clId="{C41A9FE0-C2A3-4F34-ABC2-854CDB71B6D3}" dt="2025-09-24T06:47:42.939" v="194"/>
        <pc:sldMkLst>
          <pc:docMk/>
          <pc:sldMk cId="130369674" sldId="273"/>
        </pc:sldMkLst>
      </pc:sldChg>
      <pc:sldChg chg="addSp delSp modSp mod modTransition modAnim">
        <pc:chgData name="Bryan Urbano" userId="1663610d-6c4d-44f5-8cfb-5cafa0e9adba" providerId="ADAL" clId="{C41A9FE0-C2A3-4F34-ABC2-854CDB71B6D3}" dt="2025-09-24T13:51:06.733" v="464" actId="478"/>
        <pc:sldMkLst>
          <pc:docMk/>
          <pc:sldMk cId="1599830656" sldId="382"/>
        </pc:sldMkLst>
        <pc:spChg chg="del">
          <ac:chgData name="Bryan Urbano" userId="1663610d-6c4d-44f5-8cfb-5cafa0e9adba" providerId="ADAL" clId="{C41A9FE0-C2A3-4F34-ABC2-854CDB71B6D3}" dt="2025-09-24T13:51:06.733" v="464" actId="478"/>
          <ac:spMkLst>
            <pc:docMk/>
            <pc:sldMk cId="1599830656" sldId="382"/>
            <ac:spMk id="27" creationId="{1E06DAB1-E9F2-18D3-D0D6-5EDE08EEB247}"/>
          </ac:spMkLst>
        </pc:spChg>
        <pc:spChg chg="del">
          <ac:chgData name="Bryan Urbano" userId="1663610d-6c4d-44f5-8cfb-5cafa0e9adba" providerId="ADAL" clId="{C41A9FE0-C2A3-4F34-ABC2-854CDB71B6D3}" dt="2025-09-24T13:51:06.733" v="464" actId="478"/>
          <ac:spMkLst>
            <pc:docMk/>
            <pc:sldMk cId="1599830656" sldId="382"/>
            <ac:spMk id="30" creationId="{B2460CDB-3F3F-C541-6CDE-8C6320EAA2D4}"/>
          </ac:spMkLst>
        </pc:spChg>
        <pc:grpChg chg="add mod">
          <ac:chgData name="Bryan Urbano" userId="1663610d-6c4d-44f5-8cfb-5cafa0e9adba" providerId="ADAL" clId="{C41A9FE0-C2A3-4F34-ABC2-854CDB71B6D3}" dt="2025-09-24T13:50:00.693" v="460" actId="164"/>
          <ac:grpSpMkLst>
            <pc:docMk/>
            <pc:sldMk cId="1599830656" sldId="382"/>
            <ac:grpSpMk id="45" creationId="{D64E7E13-14EC-AECC-472C-F08DC47A4AA4}"/>
          </ac:grpSpMkLst>
        </pc:grpChg>
        <pc:cxnChg chg="del">
          <ac:chgData name="Bryan Urbano" userId="1663610d-6c4d-44f5-8cfb-5cafa0e9adba" providerId="ADAL" clId="{C41A9FE0-C2A3-4F34-ABC2-854CDB71B6D3}" dt="2025-09-24T13:51:06.733" v="464" actId="478"/>
          <ac:cxnSpMkLst>
            <pc:docMk/>
            <pc:sldMk cId="1599830656" sldId="382"/>
            <ac:cxnSpMk id="3" creationId="{ED4289EE-4B3F-AD68-81E1-C47C381B7B9A}"/>
          </ac:cxnSpMkLst>
        </pc:cxnChg>
        <pc:cxnChg chg="del">
          <ac:chgData name="Bryan Urbano" userId="1663610d-6c4d-44f5-8cfb-5cafa0e9adba" providerId="ADAL" clId="{C41A9FE0-C2A3-4F34-ABC2-854CDB71B6D3}" dt="2025-09-24T13:51:06.733" v="464" actId="478"/>
          <ac:cxnSpMkLst>
            <pc:docMk/>
            <pc:sldMk cId="1599830656" sldId="382"/>
            <ac:cxnSpMk id="5" creationId="{8270F1E5-0DAF-435E-DAA5-AD8D1EF5671D}"/>
          </ac:cxnSpMkLst>
        </pc:cxnChg>
        <pc:cxnChg chg="del">
          <ac:chgData name="Bryan Urbano" userId="1663610d-6c4d-44f5-8cfb-5cafa0e9adba" providerId="ADAL" clId="{C41A9FE0-C2A3-4F34-ABC2-854CDB71B6D3}" dt="2025-09-24T13:51:06.733" v="464" actId="478"/>
          <ac:cxnSpMkLst>
            <pc:docMk/>
            <pc:sldMk cId="1599830656" sldId="382"/>
            <ac:cxnSpMk id="9" creationId="{20A58EC8-6D2B-CA90-C80C-F04DB7AA620D}"/>
          </ac:cxnSpMkLst>
        </pc:cxnChg>
        <pc:cxnChg chg="add mod">
          <ac:chgData name="Bryan Urbano" userId="1663610d-6c4d-44f5-8cfb-5cafa0e9adba" providerId="ADAL" clId="{C41A9FE0-C2A3-4F34-ABC2-854CDB71B6D3}" dt="2025-09-24T13:50:00.693" v="460" actId="164"/>
          <ac:cxnSpMkLst>
            <pc:docMk/>
            <pc:sldMk cId="1599830656" sldId="382"/>
            <ac:cxnSpMk id="42" creationId="{8E2F5A78-034F-63F6-EA04-4DA491BD3807}"/>
          </ac:cxnSpMkLst>
        </pc:cxnChg>
        <pc:cxnChg chg="add mod">
          <ac:chgData name="Bryan Urbano" userId="1663610d-6c4d-44f5-8cfb-5cafa0e9adba" providerId="ADAL" clId="{C41A9FE0-C2A3-4F34-ABC2-854CDB71B6D3}" dt="2025-09-24T13:50:00.693" v="460" actId="164"/>
          <ac:cxnSpMkLst>
            <pc:docMk/>
            <pc:sldMk cId="1599830656" sldId="382"/>
            <ac:cxnSpMk id="44" creationId="{721F7B6F-E56B-087B-1D33-156375D77B59}"/>
          </ac:cxnSpMkLst>
        </pc:cxnChg>
      </pc:sldChg>
      <pc:sldChg chg="addSp delSp modSp mod">
        <pc:chgData name="Bryan Urbano" userId="1663610d-6c4d-44f5-8cfb-5cafa0e9adba" providerId="ADAL" clId="{C41A9FE0-C2A3-4F34-ABC2-854CDB71B6D3}" dt="2025-09-24T06:44:25.160" v="150" actId="20577"/>
        <pc:sldMkLst>
          <pc:docMk/>
          <pc:sldMk cId="470453795" sldId="402"/>
        </pc:sldMkLst>
        <pc:spChg chg="mod">
          <ac:chgData name="Bryan Urbano" userId="1663610d-6c4d-44f5-8cfb-5cafa0e9adba" providerId="ADAL" clId="{C41A9FE0-C2A3-4F34-ABC2-854CDB71B6D3}" dt="2025-09-24T06:43:42.115" v="140" actId="207"/>
          <ac:spMkLst>
            <pc:docMk/>
            <pc:sldMk cId="470453795" sldId="402"/>
            <ac:spMk id="24" creationId="{C15244E1-BE3D-CF0C-9C41-72293393E4FE}"/>
          </ac:spMkLst>
        </pc:spChg>
        <pc:spChg chg="del topLvl">
          <ac:chgData name="Bryan Urbano" userId="1663610d-6c4d-44f5-8cfb-5cafa0e9adba" providerId="ADAL" clId="{C41A9FE0-C2A3-4F34-ABC2-854CDB71B6D3}" dt="2025-09-24T06:43:25.133" v="136" actId="478"/>
          <ac:spMkLst>
            <pc:docMk/>
            <pc:sldMk cId="470453795" sldId="402"/>
            <ac:spMk id="33" creationId="{A1681B24-F5DD-A1E3-3572-7A6AD0AA5549}"/>
          </ac:spMkLst>
        </pc:spChg>
        <pc:spChg chg="del topLvl">
          <ac:chgData name="Bryan Urbano" userId="1663610d-6c4d-44f5-8cfb-5cafa0e9adba" providerId="ADAL" clId="{C41A9FE0-C2A3-4F34-ABC2-854CDB71B6D3}" dt="2025-09-24T06:43:08.543" v="132" actId="478"/>
          <ac:spMkLst>
            <pc:docMk/>
            <pc:sldMk cId="470453795" sldId="402"/>
            <ac:spMk id="34" creationId="{94C78F57-797E-FEBB-4589-64BF131FB29A}"/>
          </ac:spMkLst>
        </pc:spChg>
        <pc:spChg chg="del topLvl">
          <ac:chgData name="Bryan Urbano" userId="1663610d-6c4d-44f5-8cfb-5cafa0e9adba" providerId="ADAL" clId="{C41A9FE0-C2A3-4F34-ABC2-854CDB71B6D3}" dt="2025-09-24T06:43:17.948" v="134" actId="478"/>
          <ac:spMkLst>
            <pc:docMk/>
            <pc:sldMk cId="470453795" sldId="402"/>
            <ac:spMk id="35" creationId="{34036AE4-08D2-A2FE-56F3-1FD29A53E1ED}"/>
          </ac:spMkLst>
        </pc:spChg>
        <pc:spChg chg="del topLvl">
          <ac:chgData name="Bryan Urbano" userId="1663610d-6c4d-44f5-8cfb-5cafa0e9adba" providerId="ADAL" clId="{C41A9FE0-C2A3-4F34-ABC2-854CDB71B6D3}" dt="2025-09-24T06:43:20.620" v="135" actId="478"/>
          <ac:spMkLst>
            <pc:docMk/>
            <pc:sldMk cId="470453795" sldId="402"/>
            <ac:spMk id="36" creationId="{7D92E0BD-2824-ECAC-23EA-5C5787582C79}"/>
          </ac:spMkLst>
        </pc:spChg>
        <pc:spChg chg="mod">
          <ac:chgData name="Bryan Urbano" userId="1663610d-6c4d-44f5-8cfb-5cafa0e9adba" providerId="ADAL" clId="{C41A9FE0-C2A3-4F34-ABC2-854CDB71B6D3}" dt="2025-09-24T06:44:21.092" v="146" actId="20577"/>
          <ac:spMkLst>
            <pc:docMk/>
            <pc:sldMk cId="470453795" sldId="402"/>
            <ac:spMk id="47" creationId="{9F0EF2C8-49B3-AFCD-BD45-46E913AE96B4}"/>
          </ac:spMkLst>
        </pc:spChg>
        <pc:spChg chg="mod">
          <ac:chgData name="Bryan Urbano" userId="1663610d-6c4d-44f5-8cfb-5cafa0e9adba" providerId="ADAL" clId="{C41A9FE0-C2A3-4F34-ABC2-854CDB71B6D3}" dt="2025-09-24T06:44:19.224" v="144" actId="1076"/>
          <ac:spMkLst>
            <pc:docMk/>
            <pc:sldMk cId="470453795" sldId="402"/>
            <ac:spMk id="48" creationId="{A949CA98-476B-8BBB-C376-63E823B8971E}"/>
          </ac:spMkLst>
        </pc:spChg>
        <pc:spChg chg="mod">
          <ac:chgData name="Bryan Urbano" userId="1663610d-6c4d-44f5-8cfb-5cafa0e9adba" providerId="ADAL" clId="{C41A9FE0-C2A3-4F34-ABC2-854CDB71B6D3}" dt="2025-09-24T06:44:25.160" v="150" actId="20577"/>
          <ac:spMkLst>
            <pc:docMk/>
            <pc:sldMk cId="470453795" sldId="402"/>
            <ac:spMk id="50" creationId="{B57283A6-D104-5F21-9E1D-7D3255251990}"/>
          </ac:spMkLst>
        </pc:spChg>
        <pc:spChg chg="mod">
          <ac:chgData name="Bryan Urbano" userId="1663610d-6c4d-44f5-8cfb-5cafa0e9adba" providerId="ADAL" clId="{C41A9FE0-C2A3-4F34-ABC2-854CDB71B6D3}" dt="2025-09-24T06:44:19.224" v="144" actId="1076"/>
          <ac:spMkLst>
            <pc:docMk/>
            <pc:sldMk cId="470453795" sldId="402"/>
            <ac:spMk id="51" creationId="{EB0D01C4-1F87-6216-6614-1FA6A22CD29C}"/>
          </ac:spMkLst>
        </pc:spChg>
        <pc:grpChg chg="del">
          <ac:chgData name="Bryan Urbano" userId="1663610d-6c4d-44f5-8cfb-5cafa0e9adba" providerId="ADAL" clId="{C41A9FE0-C2A3-4F34-ABC2-854CDB71B6D3}" dt="2025-09-24T06:43:17.948" v="134" actId="478"/>
          <ac:grpSpMkLst>
            <pc:docMk/>
            <pc:sldMk cId="470453795" sldId="402"/>
            <ac:grpSpMk id="39" creationId="{E16879AB-0B6C-2959-6D71-DEC51C29051A}"/>
          </ac:grpSpMkLst>
        </pc:grpChg>
        <pc:grpChg chg="del">
          <ac:chgData name="Bryan Urbano" userId="1663610d-6c4d-44f5-8cfb-5cafa0e9adba" providerId="ADAL" clId="{C41A9FE0-C2A3-4F34-ABC2-854CDB71B6D3}" dt="2025-09-24T06:43:08.543" v="132" actId="478"/>
          <ac:grpSpMkLst>
            <pc:docMk/>
            <pc:sldMk cId="470453795" sldId="402"/>
            <ac:grpSpMk id="41" creationId="{A03265A1-DB2F-FBF9-84AC-B4544DA251E3}"/>
          </ac:grpSpMkLst>
        </pc:grpChg>
        <pc:grpChg chg="del">
          <ac:chgData name="Bryan Urbano" userId="1663610d-6c4d-44f5-8cfb-5cafa0e9adba" providerId="ADAL" clId="{C41A9FE0-C2A3-4F34-ABC2-854CDB71B6D3}" dt="2025-09-24T06:43:20.620" v="135" actId="478"/>
          <ac:grpSpMkLst>
            <pc:docMk/>
            <pc:sldMk cId="470453795" sldId="402"/>
            <ac:grpSpMk id="42" creationId="{1AE5393F-365B-26B5-F49E-93F84198D98B}"/>
          </ac:grpSpMkLst>
        </pc:grpChg>
        <pc:grpChg chg="del">
          <ac:chgData name="Bryan Urbano" userId="1663610d-6c4d-44f5-8cfb-5cafa0e9adba" providerId="ADAL" clId="{C41A9FE0-C2A3-4F34-ABC2-854CDB71B6D3}" dt="2025-09-24T06:43:25.133" v="136" actId="478"/>
          <ac:grpSpMkLst>
            <pc:docMk/>
            <pc:sldMk cId="470453795" sldId="402"/>
            <ac:grpSpMk id="43" creationId="{F57038A8-E75E-78AD-F424-CC971D78751D}"/>
          </ac:grpSpMkLst>
        </pc:grpChg>
        <pc:picChg chg="add mod">
          <ac:chgData name="Bryan Urbano" userId="1663610d-6c4d-44f5-8cfb-5cafa0e9adba" providerId="ADAL" clId="{C41A9FE0-C2A3-4F34-ABC2-854CDB71B6D3}" dt="2025-09-24T06:43:12.803" v="133" actId="1076"/>
          <ac:picMkLst>
            <pc:docMk/>
            <pc:sldMk cId="470453795" sldId="402"/>
            <ac:picMk id="20" creationId="{452E992A-C196-F038-4E31-AC64D078C345}"/>
          </ac:picMkLst>
        </pc:picChg>
        <pc:picChg chg="add mod">
          <ac:chgData name="Bryan Urbano" userId="1663610d-6c4d-44f5-8cfb-5cafa0e9adba" providerId="ADAL" clId="{C41A9FE0-C2A3-4F34-ABC2-854CDB71B6D3}" dt="2025-09-24T06:43:28.121" v="137" actId="1076"/>
          <ac:picMkLst>
            <pc:docMk/>
            <pc:sldMk cId="470453795" sldId="402"/>
            <ac:picMk id="21" creationId="{3F48D661-2C60-FCB3-6C83-92A352838FF8}"/>
          </ac:picMkLst>
        </pc:picChg>
        <pc:picChg chg="add mod">
          <ac:chgData name="Bryan Urbano" userId="1663610d-6c4d-44f5-8cfb-5cafa0e9adba" providerId="ADAL" clId="{C41A9FE0-C2A3-4F34-ABC2-854CDB71B6D3}" dt="2025-09-24T06:43:35.506" v="139" actId="1076"/>
          <ac:picMkLst>
            <pc:docMk/>
            <pc:sldMk cId="470453795" sldId="402"/>
            <ac:picMk id="22" creationId="{50A4DB9B-B27C-CE9C-3E79-049ED91AE685}"/>
          </ac:picMkLst>
        </pc:picChg>
        <pc:picChg chg="add mod">
          <ac:chgData name="Bryan Urbano" userId="1663610d-6c4d-44f5-8cfb-5cafa0e9adba" providerId="ADAL" clId="{C41A9FE0-C2A3-4F34-ABC2-854CDB71B6D3}" dt="2025-09-24T06:43:32.855" v="138" actId="1076"/>
          <ac:picMkLst>
            <pc:docMk/>
            <pc:sldMk cId="470453795" sldId="402"/>
            <ac:picMk id="23" creationId="{39164B10-94F9-E7E4-A996-7BDE713C53BB}"/>
          </ac:picMkLst>
        </pc:picChg>
        <pc:cxnChg chg="topLvl">
          <ac:chgData name="Bryan Urbano" userId="1663610d-6c4d-44f5-8cfb-5cafa0e9adba" providerId="ADAL" clId="{C41A9FE0-C2A3-4F34-ABC2-854CDB71B6D3}" dt="2025-09-24T06:43:08.543" v="132" actId="478"/>
          <ac:cxnSpMkLst>
            <pc:docMk/>
            <pc:sldMk cId="470453795" sldId="402"/>
            <ac:cxnSpMk id="27" creationId="{E1BAFD5E-F6FA-436F-7E16-A13557717F43}"/>
          </ac:cxnSpMkLst>
        </pc:cxnChg>
        <pc:cxnChg chg="topLvl">
          <ac:chgData name="Bryan Urbano" userId="1663610d-6c4d-44f5-8cfb-5cafa0e9adba" providerId="ADAL" clId="{C41A9FE0-C2A3-4F34-ABC2-854CDB71B6D3}" dt="2025-09-24T06:43:17.948" v="134" actId="478"/>
          <ac:cxnSpMkLst>
            <pc:docMk/>
            <pc:sldMk cId="470453795" sldId="402"/>
            <ac:cxnSpMk id="28" creationId="{77CC23CA-8EEF-AF2B-B9B9-CC797B431237}"/>
          </ac:cxnSpMkLst>
        </pc:cxnChg>
        <pc:cxnChg chg="topLvl">
          <ac:chgData name="Bryan Urbano" userId="1663610d-6c4d-44f5-8cfb-5cafa0e9adba" providerId="ADAL" clId="{C41A9FE0-C2A3-4F34-ABC2-854CDB71B6D3}" dt="2025-09-24T06:43:20.620" v="135" actId="478"/>
          <ac:cxnSpMkLst>
            <pc:docMk/>
            <pc:sldMk cId="470453795" sldId="402"/>
            <ac:cxnSpMk id="29" creationId="{90E76BCA-C95B-17D2-9FA0-17F8ED479507}"/>
          </ac:cxnSpMkLst>
        </pc:cxnChg>
        <pc:cxnChg chg="topLvl">
          <ac:chgData name="Bryan Urbano" userId="1663610d-6c4d-44f5-8cfb-5cafa0e9adba" providerId="ADAL" clId="{C41A9FE0-C2A3-4F34-ABC2-854CDB71B6D3}" dt="2025-09-24T06:43:25.133" v="136" actId="478"/>
          <ac:cxnSpMkLst>
            <pc:docMk/>
            <pc:sldMk cId="470453795" sldId="402"/>
            <ac:cxnSpMk id="30" creationId="{BA10F14E-A8E1-0737-3640-8B92871926E9}"/>
          </ac:cxnSpMkLst>
        </pc:cxnChg>
      </pc:sldChg>
      <pc:sldChg chg="modSp mod modTransition modAnim">
        <pc:chgData name="Bryan Urbano" userId="1663610d-6c4d-44f5-8cfb-5cafa0e9adba" providerId="ADAL" clId="{C41A9FE0-C2A3-4F34-ABC2-854CDB71B6D3}" dt="2025-09-24T06:58:07.495" v="384" actId="20577"/>
        <pc:sldMkLst>
          <pc:docMk/>
          <pc:sldMk cId="3018688800" sldId="407"/>
        </pc:sldMkLst>
        <pc:spChg chg="mod">
          <ac:chgData name="Bryan Urbano" userId="1663610d-6c4d-44f5-8cfb-5cafa0e9adba" providerId="ADAL" clId="{C41A9FE0-C2A3-4F34-ABC2-854CDB71B6D3}" dt="2025-09-24T06:58:07.495" v="384" actId="20577"/>
          <ac:spMkLst>
            <pc:docMk/>
            <pc:sldMk cId="3018688800" sldId="407"/>
            <ac:spMk id="32" creationId="{97A1CEAF-CF04-04AD-DAD1-73124AA0055E}"/>
          </ac:spMkLst>
        </pc:spChg>
      </pc:sldChg>
      <pc:sldChg chg="addSp modSp add mod modTransition">
        <pc:chgData name="Bryan Urbano" userId="1663610d-6c4d-44f5-8cfb-5cafa0e9adba" providerId="ADAL" clId="{C41A9FE0-C2A3-4F34-ABC2-854CDB71B6D3}" dt="2025-09-24T14:35:56.735" v="669"/>
        <pc:sldMkLst>
          <pc:docMk/>
          <pc:sldMk cId="2975098426" sldId="794"/>
        </pc:sldMkLst>
        <pc:spChg chg="mod">
          <ac:chgData name="Bryan Urbano" userId="1663610d-6c4d-44f5-8cfb-5cafa0e9adba" providerId="ADAL" clId="{C41A9FE0-C2A3-4F34-ABC2-854CDB71B6D3}" dt="2025-09-24T14:35:43.435" v="667" actId="20577"/>
          <ac:spMkLst>
            <pc:docMk/>
            <pc:sldMk cId="2975098426" sldId="794"/>
            <ac:spMk id="2" creationId="{00000000-0000-0000-0000-000000000000}"/>
          </ac:spMkLst>
        </pc:spChg>
        <pc:spChg chg="mod">
          <ac:chgData name="Bryan Urbano" userId="1663610d-6c4d-44f5-8cfb-5cafa0e9adba" providerId="ADAL" clId="{C41A9FE0-C2A3-4F34-ABC2-854CDB71B6D3}" dt="2025-09-24T14:35:38.337" v="666" actId="20577"/>
          <ac:spMkLst>
            <pc:docMk/>
            <pc:sldMk cId="2975098426" sldId="794"/>
            <ac:spMk id="5" creationId="{B641CBFF-9E70-F7BE-053A-4BE81D350035}"/>
          </ac:spMkLst>
        </pc:spChg>
        <pc:spChg chg="mod">
          <ac:chgData name="Bryan Urbano" userId="1663610d-6c4d-44f5-8cfb-5cafa0e9adba" providerId="ADAL" clId="{C41A9FE0-C2A3-4F34-ABC2-854CDB71B6D3}" dt="2025-09-24T14:35:51.276" v="668"/>
          <ac:spMkLst>
            <pc:docMk/>
            <pc:sldMk cId="2975098426" sldId="794"/>
            <ac:spMk id="11" creationId="{7C60F225-CB8D-8DF3-71BE-4302254F80FB}"/>
          </ac:spMkLst>
        </pc:spChg>
        <pc:spChg chg="mod">
          <ac:chgData name="Bryan Urbano" userId="1663610d-6c4d-44f5-8cfb-5cafa0e9adba" providerId="ADAL" clId="{C41A9FE0-C2A3-4F34-ABC2-854CDB71B6D3}" dt="2025-09-24T14:35:51.276" v="668"/>
          <ac:spMkLst>
            <pc:docMk/>
            <pc:sldMk cId="2975098426" sldId="794"/>
            <ac:spMk id="14" creationId="{44C97D02-E619-299D-41E3-1979F1345B01}"/>
          </ac:spMkLst>
        </pc:spChg>
        <pc:spChg chg="mod">
          <ac:chgData name="Bryan Urbano" userId="1663610d-6c4d-44f5-8cfb-5cafa0e9adba" providerId="ADAL" clId="{C41A9FE0-C2A3-4F34-ABC2-854CDB71B6D3}" dt="2025-09-24T14:35:51.276" v="668"/>
          <ac:spMkLst>
            <pc:docMk/>
            <pc:sldMk cId="2975098426" sldId="794"/>
            <ac:spMk id="15" creationId="{2E06BB7F-D9BA-3B3C-6457-C0A9AC2AF0DF}"/>
          </ac:spMkLst>
        </pc:spChg>
        <pc:spChg chg="mod">
          <ac:chgData name="Bryan Urbano" userId="1663610d-6c4d-44f5-8cfb-5cafa0e9adba" providerId="ADAL" clId="{C41A9FE0-C2A3-4F34-ABC2-854CDB71B6D3}" dt="2025-09-24T14:35:51.276" v="668"/>
          <ac:spMkLst>
            <pc:docMk/>
            <pc:sldMk cId="2975098426" sldId="794"/>
            <ac:spMk id="16" creationId="{3BC596B8-E96C-5D9C-F70E-92E48B0E1325}"/>
          </ac:spMkLst>
        </pc:spChg>
        <pc:spChg chg="mod">
          <ac:chgData name="Bryan Urbano" userId="1663610d-6c4d-44f5-8cfb-5cafa0e9adba" providerId="ADAL" clId="{C41A9FE0-C2A3-4F34-ABC2-854CDB71B6D3}" dt="2025-09-24T14:35:51.276" v="668"/>
          <ac:spMkLst>
            <pc:docMk/>
            <pc:sldMk cId="2975098426" sldId="794"/>
            <ac:spMk id="18" creationId="{218D8277-AD46-ABF6-3A07-9B4079A6F914}"/>
          </ac:spMkLst>
        </pc:spChg>
        <pc:spChg chg="mod">
          <ac:chgData name="Bryan Urbano" userId="1663610d-6c4d-44f5-8cfb-5cafa0e9adba" providerId="ADAL" clId="{C41A9FE0-C2A3-4F34-ABC2-854CDB71B6D3}" dt="2025-09-24T14:35:51.276" v="668"/>
          <ac:spMkLst>
            <pc:docMk/>
            <pc:sldMk cId="2975098426" sldId="794"/>
            <ac:spMk id="19" creationId="{7E05C1F0-42BB-0F77-DBB5-F711A69F1B9F}"/>
          </ac:spMkLst>
        </pc:spChg>
        <pc:spChg chg="mod">
          <ac:chgData name="Bryan Urbano" userId="1663610d-6c4d-44f5-8cfb-5cafa0e9adba" providerId="ADAL" clId="{C41A9FE0-C2A3-4F34-ABC2-854CDB71B6D3}" dt="2025-09-24T14:35:51.276" v="668"/>
          <ac:spMkLst>
            <pc:docMk/>
            <pc:sldMk cId="2975098426" sldId="794"/>
            <ac:spMk id="20" creationId="{C3E7E64B-6094-67CD-A395-E13553F933DD}"/>
          </ac:spMkLst>
        </pc:spChg>
        <pc:spChg chg="mod">
          <ac:chgData name="Bryan Urbano" userId="1663610d-6c4d-44f5-8cfb-5cafa0e9adba" providerId="ADAL" clId="{C41A9FE0-C2A3-4F34-ABC2-854CDB71B6D3}" dt="2025-09-24T14:35:51.276" v="668"/>
          <ac:spMkLst>
            <pc:docMk/>
            <pc:sldMk cId="2975098426" sldId="794"/>
            <ac:spMk id="21" creationId="{05390C17-6226-0A87-826B-D1C4091F7D94}"/>
          </ac:spMkLst>
        </pc:spChg>
        <pc:spChg chg="mod">
          <ac:chgData name="Bryan Urbano" userId="1663610d-6c4d-44f5-8cfb-5cafa0e9adba" providerId="ADAL" clId="{C41A9FE0-C2A3-4F34-ABC2-854CDB71B6D3}" dt="2025-09-24T14:35:51.276" v="668"/>
          <ac:spMkLst>
            <pc:docMk/>
            <pc:sldMk cId="2975098426" sldId="794"/>
            <ac:spMk id="23" creationId="{FCA9C827-2ED2-3741-AF35-126887FE5B3C}"/>
          </ac:spMkLst>
        </pc:spChg>
        <pc:spChg chg="mod">
          <ac:chgData name="Bryan Urbano" userId="1663610d-6c4d-44f5-8cfb-5cafa0e9adba" providerId="ADAL" clId="{C41A9FE0-C2A3-4F34-ABC2-854CDB71B6D3}" dt="2025-09-24T14:35:51.276" v="668"/>
          <ac:spMkLst>
            <pc:docMk/>
            <pc:sldMk cId="2975098426" sldId="794"/>
            <ac:spMk id="24" creationId="{FE221A1D-3BA3-0A0D-068D-58B50D5C6E03}"/>
          </ac:spMkLst>
        </pc:spChg>
      </pc:sldChg>
      <pc:sldChg chg="modTransition modAnim">
        <pc:chgData name="Bryan Urbano" userId="1663610d-6c4d-44f5-8cfb-5cafa0e9adba" providerId="ADAL" clId="{C41A9FE0-C2A3-4F34-ABC2-854CDB71B6D3}" dt="2025-09-24T06:51:48.889" v="230"/>
        <pc:sldMkLst>
          <pc:docMk/>
          <pc:sldMk cId="1918996376" sldId="842"/>
        </pc:sldMkLst>
      </pc:sldChg>
      <pc:sldChg chg="addSp delSp modSp mod modAnim">
        <pc:chgData name="Bryan Urbano" userId="1663610d-6c4d-44f5-8cfb-5cafa0e9adba" providerId="ADAL" clId="{C41A9FE0-C2A3-4F34-ABC2-854CDB71B6D3}" dt="2025-09-24T06:52:38.463" v="236"/>
        <pc:sldMkLst>
          <pc:docMk/>
          <pc:sldMk cId="2667993400" sldId="2147474907"/>
        </pc:sldMkLst>
        <pc:spChg chg="add mod">
          <ac:chgData name="Bryan Urbano" userId="1663610d-6c4d-44f5-8cfb-5cafa0e9adba" providerId="ADAL" clId="{C41A9FE0-C2A3-4F34-ABC2-854CDB71B6D3}" dt="2025-09-24T06:45:39.230" v="165" actId="1076"/>
          <ac:spMkLst>
            <pc:docMk/>
            <pc:sldMk cId="2667993400" sldId="2147474907"/>
            <ac:spMk id="2" creationId="{E1CDC9EC-A6B9-6996-4EEC-25C555825173}"/>
          </ac:spMkLst>
        </pc:spChg>
        <pc:spChg chg="add mod">
          <ac:chgData name="Bryan Urbano" userId="1663610d-6c4d-44f5-8cfb-5cafa0e9adba" providerId="ADAL" clId="{C41A9FE0-C2A3-4F34-ABC2-854CDB71B6D3}" dt="2025-09-24T06:46:54.884" v="192" actId="1076"/>
          <ac:spMkLst>
            <pc:docMk/>
            <pc:sldMk cId="2667993400" sldId="2147474907"/>
            <ac:spMk id="3" creationId="{BD8EF44A-5E39-B15A-8E40-69AD6E1BF268}"/>
          </ac:spMkLst>
        </pc:spChg>
        <pc:spChg chg="mod">
          <ac:chgData name="Bryan Urbano" userId="1663610d-6c4d-44f5-8cfb-5cafa0e9adba" providerId="ADAL" clId="{C41A9FE0-C2A3-4F34-ABC2-854CDB71B6D3}" dt="2025-09-24T06:44:48.904" v="156" actId="6549"/>
          <ac:spMkLst>
            <pc:docMk/>
            <pc:sldMk cId="2667993400" sldId="2147474907"/>
            <ac:spMk id="8" creationId="{59322589-B90A-C85B-7BF7-06E0AA153777}"/>
          </ac:spMkLst>
        </pc:spChg>
        <pc:spChg chg="del">
          <ac:chgData name="Bryan Urbano" userId="1663610d-6c4d-44f5-8cfb-5cafa0e9adba" providerId="ADAL" clId="{C41A9FE0-C2A3-4F34-ABC2-854CDB71B6D3}" dt="2025-09-24T06:42:48.039" v="128" actId="478"/>
          <ac:spMkLst>
            <pc:docMk/>
            <pc:sldMk cId="2667993400" sldId="2147474907"/>
            <ac:spMk id="15" creationId="{E9B43B56-E4AE-8C3E-624B-B03E395D3939}"/>
          </ac:spMkLst>
        </pc:spChg>
        <pc:spChg chg="mod">
          <ac:chgData name="Bryan Urbano" userId="1663610d-6c4d-44f5-8cfb-5cafa0e9adba" providerId="ADAL" clId="{C41A9FE0-C2A3-4F34-ABC2-854CDB71B6D3}" dt="2025-09-24T06:45:06.165" v="159" actId="122"/>
          <ac:spMkLst>
            <pc:docMk/>
            <pc:sldMk cId="2667993400" sldId="2147474907"/>
            <ac:spMk id="23" creationId="{9E19BD0E-D80C-941C-94B8-A083671E2459}"/>
          </ac:spMkLst>
        </pc:spChg>
        <pc:spChg chg="mod">
          <ac:chgData name="Bryan Urbano" userId="1663610d-6c4d-44f5-8cfb-5cafa0e9adba" providerId="ADAL" clId="{C41A9FE0-C2A3-4F34-ABC2-854CDB71B6D3}" dt="2025-09-24T06:41:59.968" v="44" actId="20577"/>
          <ac:spMkLst>
            <pc:docMk/>
            <pc:sldMk cId="2667993400" sldId="2147474907"/>
            <ac:spMk id="27" creationId="{9316C8BD-511B-2FE0-ED3F-AECAD3033751}"/>
          </ac:spMkLst>
        </pc:spChg>
        <pc:spChg chg="mod">
          <ac:chgData name="Bryan Urbano" userId="1663610d-6c4d-44f5-8cfb-5cafa0e9adba" providerId="ADAL" clId="{C41A9FE0-C2A3-4F34-ABC2-854CDB71B6D3}" dt="2025-09-24T06:42:33.047" v="107" actId="20577"/>
          <ac:spMkLst>
            <pc:docMk/>
            <pc:sldMk cId="2667993400" sldId="2147474907"/>
            <ac:spMk id="28" creationId="{D53DCA1F-F085-C5D2-940C-E8FAED451705}"/>
          </ac:spMkLst>
        </pc:spChg>
        <pc:spChg chg="mod">
          <ac:chgData name="Bryan Urbano" userId="1663610d-6c4d-44f5-8cfb-5cafa0e9adba" providerId="ADAL" clId="{C41A9FE0-C2A3-4F34-ABC2-854CDB71B6D3}" dt="2025-09-24T06:42:11.613" v="71" actId="20577"/>
          <ac:spMkLst>
            <pc:docMk/>
            <pc:sldMk cId="2667993400" sldId="2147474907"/>
            <ac:spMk id="29" creationId="{185C00DB-170F-8532-55DF-23C1F4408BAF}"/>
          </ac:spMkLst>
        </pc:spChg>
        <pc:spChg chg="mod">
          <ac:chgData name="Bryan Urbano" userId="1663610d-6c4d-44f5-8cfb-5cafa0e9adba" providerId="ADAL" clId="{C41A9FE0-C2A3-4F34-ABC2-854CDB71B6D3}" dt="2025-09-24T06:42:45.512" v="127" actId="20577"/>
          <ac:spMkLst>
            <pc:docMk/>
            <pc:sldMk cId="2667993400" sldId="2147474907"/>
            <ac:spMk id="31" creationId="{543D72C4-7298-9FBE-FFA0-AABE9E17FDCF}"/>
          </ac:spMkLst>
        </pc:spChg>
        <pc:picChg chg="del">
          <ac:chgData name="Bryan Urbano" userId="1663610d-6c4d-44f5-8cfb-5cafa0e9adba" providerId="ADAL" clId="{C41A9FE0-C2A3-4F34-ABC2-854CDB71B6D3}" dt="2025-09-24T06:42:53.369" v="129" actId="21"/>
          <ac:picMkLst>
            <pc:docMk/>
            <pc:sldMk cId="2667993400" sldId="2147474907"/>
            <ac:picMk id="14" creationId="{452E992A-C196-F038-4E31-AC64D078C345}"/>
          </ac:picMkLst>
        </pc:picChg>
        <pc:picChg chg="del">
          <ac:chgData name="Bryan Urbano" userId="1663610d-6c4d-44f5-8cfb-5cafa0e9adba" providerId="ADAL" clId="{C41A9FE0-C2A3-4F34-ABC2-854CDB71B6D3}" dt="2025-09-24T06:42:53.369" v="129" actId="21"/>
          <ac:picMkLst>
            <pc:docMk/>
            <pc:sldMk cId="2667993400" sldId="2147474907"/>
            <ac:picMk id="20" creationId="{3F48D661-2C60-FCB3-6C83-92A352838FF8}"/>
          </ac:picMkLst>
        </pc:picChg>
        <pc:picChg chg="del">
          <ac:chgData name="Bryan Urbano" userId="1663610d-6c4d-44f5-8cfb-5cafa0e9adba" providerId="ADAL" clId="{C41A9FE0-C2A3-4F34-ABC2-854CDB71B6D3}" dt="2025-09-24T06:42:53.369" v="129" actId="21"/>
          <ac:picMkLst>
            <pc:docMk/>
            <pc:sldMk cId="2667993400" sldId="2147474907"/>
            <ac:picMk id="22" creationId="{50A4DB9B-B27C-CE9C-3E79-049ED91AE685}"/>
          </ac:picMkLst>
        </pc:picChg>
        <pc:picChg chg="del">
          <ac:chgData name="Bryan Urbano" userId="1663610d-6c4d-44f5-8cfb-5cafa0e9adba" providerId="ADAL" clId="{C41A9FE0-C2A3-4F34-ABC2-854CDB71B6D3}" dt="2025-09-24T06:42:53.369" v="129" actId="21"/>
          <ac:picMkLst>
            <pc:docMk/>
            <pc:sldMk cId="2667993400" sldId="2147474907"/>
            <ac:picMk id="24" creationId="{39164B10-94F9-E7E4-A996-7BDE713C53BB}"/>
          </ac:picMkLst>
        </pc:picChg>
      </pc:sldChg>
      <pc:sldChg chg="modSp mod modTransition modAnim">
        <pc:chgData name="Bryan Urbano" userId="1663610d-6c4d-44f5-8cfb-5cafa0e9adba" providerId="ADAL" clId="{C41A9FE0-C2A3-4F34-ABC2-854CDB71B6D3}" dt="2025-09-24T06:53:39.942" v="263"/>
        <pc:sldMkLst>
          <pc:docMk/>
          <pc:sldMk cId="3869218131" sldId="2147475024"/>
        </pc:sldMkLst>
        <pc:spChg chg="mod">
          <ac:chgData name="Bryan Urbano" userId="1663610d-6c4d-44f5-8cfb-5cafa0e9adba" providerId="ADAL" clId="{C41A9FE0-C2A3-4F34-ABC2-854CDB71B6D3}" dt="2025-09-24T06:46:29.268" v="186" actId="207"/>
          <ac:spMkLst>
            <pc:docMk/>
            <pc:sldMk cId="3869218131" sldId="2147475024"/>
            <ac:spMk id="12" creationId="{F27EA023-DAC0-845E-294B-1368BBBB7D6C}"/>
          </ac:spMkLst>
        </pc:spChg>
        <pc:spChg chg="mod">
          <ac:chgData name="Bryan Urbano" userId="1663610d-6c4d-44f5-8cfb-5cafa0e9adba" providerId="ADAL" clId="{C41A9FE0-C2A3-4F34-ABC2-854CDB71B6D3}" dt="2025-09-24T06:46:20.547" v="184" actId="1076"/>
          <ac:spMkLst>
            <pc:docMk/>
            <pc:sldMk cId="3869218131" sldId="2147475024"/>
            <ac:spMk id="56" creationId="{B5208D14-C4E7-171E-F93F-37FFF740A639}"/>
          </ac:spMkLst>
        </pc:spChg>
        <pc:spChg chg="mod">
          <ac:chgData name="Bryan Urbano" userId="1663610d-6c4d-44f5-8cfb-5cafa0e9adba" providerId="ADAL" clId="{C41A9FE0-C2A3-4F34-ABC2-854CDB71B6D3}" dt="2025-09-24T06:46:23.757" v="185" actId="1076"/>
          <ac:spMkLst>
            <pc:docMk/>
            <pc:sldMk cId="3869218131" sldId="2147475024"/>
            <ac:spMk id="57" creationId="{564D0986-562B-D2F6-C953-176FBFD6B60D}"/>
          </ac:spMkLst>
        </pc:spChg>
        <pc:spChg chg="mod">
          <ac:chgData name="Bryan Urbano" userId="1663610d-6c4d-44f5-8cfb-5cafa0e9adba" providerId="ADAL" clId="{C41A9FE0-C2A3-4F34-ABC2-854CDB71B6D3}" dt="2025-09-24T06:46:38.679" v="187" actId="207"/>
          <ac:spMkLst>
            <pc:docMk/>
            <pc:sldMk cId="3869218131" sldId="2147475024"/>
            <ac:spMk id="58" creationId="{D107B5E4-77F8-17F7-FE59-977BDEBB715E}"/>
          </ac:spMkLst>
        </pc:spChg>
        <pc:spChg chg="mod">
          <ac:chgData name="Bryan Urbano" userId="1663610d-6c4d-44f5-8cfb-5cafa0e9adba" providerId="ADAL" clId="{C41A9FE0-C2A3-4F34-ABC2-854CDB71B6D3}" dt="2025-09-24T06:46:20.547" v="184" actId="1076"/>
          <ac:spMkLst>
            <pc:docMk/>
            <pc:sldMk cId="3869218131" sldId="2147475024"/>
            <ac:spMk id="59" creationId="{0869B5AB-39E5-319D-9D2B-30EC582F895F}"/>
          </ac:spMkLst>
        </pc:spChg>
        <pc:spChg chg="mod">
          <ac:chgData name="Bryan Urbano" userId="1663610d-6c4d-44f5-8cfb-5cafa0e9adba" providerId="ADAL" clId="{C41A9FE0-C2A3-4F34-ABC2-854CDB71B6D3}" dt="2025-09-24T06:53:21.200" v="259" actId="20577"/>
          <ac:spMkLst>
            <pc:docMk/>
            <pc:sldMk cId="3869218131" sldId="2147475024"/>
            <ac:spMk id="60" creationId="{5AF9610A-39C7-AB42-97AC-C9B3F14C4D75}"/>
          </ac:spMkLst>
        </pc:spChg>
        <pc:grpChg chg="mod">
          <ac:chgData name="Bryan Urbano" userId="1663610d-6c4d-44f5-8cfb-5cafa0e9adba" providerId="ADAL" clId="{C41A9FE0-C2A3-4F34-ABC2-854CDB71B6D3}" dt="2025-09-24T06:46:20.547" v="184" actId="1076"/>
          <ac:grpSpMkLst>
            <pc:docMk/>
            <pc:sldMk cId="3869218131" sldId="2147475024"/>
            <ac:grpSpMk id="18" creationId="{8E7E68AE-C77A-B82C-DC31-B72D4848F358}"/>
          </ac:grpSpMkLst>
        </pc:grpChg>
        <pc:picChg chg="mod">
          <ac:chgData name="Bryan Urbano" userId="1663610d-6c4d-44f5-8cfb-5cafa0e9adba" providerId="ADAL" clId="{C41A9FE0-C2A3-4F34-ABC2-854CDB71B6D3}" dt="2025-09-24T06:46:20.547" v="184" actId="1076"/>
          <ac:picMkLst>
            <pc:docMk/>
            <pc:sldMk cId="3869218131" sldId="2147475024"/>
            <ac:picMk id="8" creationId="{6A1F4737-5371-525A-2390-D57C5B95FD30}"/>
          </ac:picMkLst>
        </pc:picChg>
        <pc:picChg chg="mod">
          <ac:chgData name="Bryan Urbano" userId="1663610d-6c4d-44f5-8cfb-5cafa0e9adba" providerId="ADAL" clId="{C41A9FE0-C2A3-4F34-ABC2-854CDB71B6D3}" dt="2025-09-24T06:46:20.547" v="184" actId="1076"/>
          <ac:picMkLst>
            <pc:docMk/>
            <pc:sldMk cId="3869218131" sldId="2147475024"/>
            <ac:picMk id="10" creationId="{EBADB83D-C173-C809-811B-5D3A5FD8C90E}"/>
          </ac:picMkLst>
        </pc:picChg>
        <pc:picChg chg="mod">
          <ac:chgData name="Bryan Urbano" userId="1663610d-6c4d-44f5-8cfb-5cafa0e9adba" providerId="ADAL" clId="{C41A9FE0-C2A3-4F34-ABC2-854CDB71B6D3}" dt="2025-09-24T06:46:20.547" v="184" actId="1076"/>
          <ac:picMkLst>
            <pc:docMk/>
            <pc:sldMk cId="3869218131" sldId="2147475024"/>
            <ac:picMk id="20" creationId="{E64CC180-2187-0240-8883-FDFF8B2B0660}"/>
          </ac:picMkLst>
        </pc:picChg>
        <pc:picChg chg="mod">
          <ac:chgData name="Bryan Urbano" userId="1663610d-6c4d-44f5-8cfb-5cafa0e9adba" providerId="ADAL" clId="{C41A9FE0-C2A3-4F34-ABC2-854CDB71B6D3}" dt="2025-09-24T06:46:20.547" v="184" actId="1076"/>
          <ac:picMkLst>
            <pc:docMk/>
            <pc:sldMk cId="3869218131" sldId="2147475024"/>
            <ac:picMk id="21" creationId="{20C7B0BA-CE0B-582B-C5A3-30CED276085C}"/>
          </ac:picMkLst>
        </pc:picChg>
        <pc:picChg chg="mod">
          <ac:chgData name="Bryan Urbano" userId="1663610d-6c4d-44f5-8cfb-5cafa0e9adba" providerId="ADAL" clId="{C41A9FE0-C2A3-4F34-ABC2-854CDB71B6D3}" dt="2025-09-24T06:46:20.547" v="184" actId="1076"/>
          <ac:picMkLst>
            <pc:docMk/>
            <pc:sldMk cId="3869218131" sldId="2147475024"/>
            <ac:picMk id="22" creationId="{61BD8AD4-7B8D-4E1B-E514-B31AC8E6CF3B}"/>
          </ac:picMkLst>
        </pc:picChg>
      </pc:sldChg>
      <pc:sldChg chg="modTransition">
        <pc:chgData name="Bryan Urbano" userId="1663610d-6c4d-44f5-8cfb-5cafa0e9adba" providerId="ADAL" clId="{C41A9FE0-C2A3-4F34-ABC2-854CDB71B6D3}" dt="2025-09-24T06:41:00.128" v="14"/>
        <pc:sldMkLst>
          <pc:docMk/>
          <pc:sldMk cId="298144271" sldId="2147475025"/>
        </pc:sldMkLst>
      </pc:sldChg>
      <pc:sldChg chg="addSp delSp modSp add mod modAnim">
        <pc:chgData name="Bryan Urbano" userId="1663610d-6c4d-44f5-8cfb-5cafa0e9adba" providerId="ADAL" clId="{C41A9FE0-C2A3-4F34-ABC2-854CDB71B6D3}" dt="2025-09-24T13:55:57.953" v="486"/>
        <pc:sldMkLst>
          <pc:docMk/>
          <pc:sldMk cId="2027599703" sldId="2147475026"/>
        </pc:sldMkLst>
        <pc:spChg chg="add mod">
          <ac:chgData name="Bryan Urbano" userId="1663610d-6c4d-44f5-8cfb-5cafa0e9adba" providerId="ADAL" clId="{C41A9FE0-C2A3-4F34-ABC2-854CDB71B6D3}" dt="2025-09-24T13:53:54.822" v="478" actId="1076"/>
          <ac:spMkLst>
            <pc:docMk/>
            <pc:sldMk cId="2027599703" sldId="2147475026"/>
            <ac:spMk id="2" creationId="{46FE73C7-0F3B-063B-897C-6FC3184BEC0E}"/>
          </ac:spMkLst>
        </pc:spChg>
        <pc:spChg chg="del">
          <ac:chgData name="Bryan Urbano" userId="1663610d-6c4d-44f5-8cfb-5cafa0e9adba" providerId="ADAL" clId="{C41A9FE0-C2A3-4F34-ABC2-854CDB71B6D3}" dt="2025-09-24T13:51:13.778" v="465" actId="478"/>
          <ac:spMkLst>
            <pc:docMk/>
            <pc:sldMk cId="2027599703" sldId="2147475026"/>
            <ac:spMk id="27" creationId="{2F020EAE-4F87-A661-B756-F9C8F7E7FC58}"/>
          </ac:spMkLst>
        </pc:spChg>
        <pc:spChg chg="del">
          <ac:chgData name="Bryan Urbano" userId="1663610d-6c4d-44f5-8cfb-5cafa0e9adba" providerId="ADAL" clId="{C41A9FE0-C2A3-4F34-ABC2-854CDB71B6D3}" dt="2025-09-24T13:51:13.778" v="465" actId="478"/>
          <ac:spMkLst>
            <pc:docMk/>
            <pc:sldMk cId="2027599703" sldId="2147475026"/>
            <ac:spMk id="30" creationId="{F343D612-F416-1B5C-6FEC-5927645613E8}"/>
          </ac:spMkLst>
        </pc:spChg>
        <pc:graphicFrameChg chg="add mod">
          <ac:chgData name="Bryan Urbano" userId="1663610d-6c4d-44f5-8cfb-5cafa0e9adba" providerId="ADAL" clId="{C41A9FE0-C2A3-4F34-ABC2-854CDB71B6D3}" dt="2025-09-24T13:55:57.953" v="486"/>
          <ac:graphicFrameMkLst>
            <pc:docMk/>
            <pc:sldMk cId="2027599703" sldId="2147475026"/>
            <ac:graphicFrameMk id="4" creationId="{82970DD8-AD0E-CF92-2011-D38508326A6E}"/>
          </ac:graphicFrameMkLst>
        </pc:graphicFrameChg>
        <pc:cxnChg chg="del">
          <ac:chgData name="Bryan Urbano" userId="1663610d-6c4d-44f5-8cfb-5cafa0e9adba" providerId="ADAL" clId="{C41A9FE0-C2A3-4F34-ABC2-854CDB71B6D3}" dt="2025-09-24T13:51:13.778" v="465" actId="478"/>
          <ac:cxnSpMkLst>
            <pc:docMk/>
            <pc:sldMk cId="2027599703" sldId="2147475026"/>
            <ac:cxnSpMk id="3" creationId="{1E90852F-6CD9-A2AD-9A4A-94D01C9BD3F3}"/>
          </ac:cxnSpMkLst>
        </pc:cxnChg>
        <pc:cxnChg chg="del">
          <ac:chgData name="Bryan Urbano" userId="1663610d-6c4d-44f5-8cfb-5cafa0e9adba" providerId="ADAL" clId="{C41A9FE0-C2A3-4F34-ABC2-854CDB71B6D3}" dt="2025-09-24T13:51:13.778" v="465" actId="478"/>
          <ac:cxnSpMkLst>
            <pc:docMk/>
            <pc:sldMk cId="2027599703" sldId="2147475026"/>
            <ac:cxnSpMk id="5" creationId="{BE00FDF0-E765-0D07-9AE7-5A0962805F53}"/>
          </ac:cxnSpMkLst>
        </pc:cxnChg>
        <pc:cxnChg chg="del">
          <ac:chgData name="Bryan Urbano" userId="1663610d-6c4d-44f5-8cfb-5cafa0e9adba" providerId="ADAL" clId="{C41A9FE0-C2A3-4F34-ABC2-854CDB71B6D3}" dt="2025-09-24T13:51:13.778" v="465" actId="478"/>
          <ac:cxnSpMkLst>
            <pc:docMk/>
            <pc:sldMk cId="2027599703" sldId="2147475026"/>
            <ac:cxnSpMk id="9" creationId="{520CA673-2197-C7B7-6457-57790B62C27D}"/>
          </ac:cxnSpMkLst>
        </pc:cxnChg>
      </pc:sldChg>
      <pc:sldChg chg="add modAnim">
        <pc:chgData name="Bryan Urbano" userId="1663610d-6c4d-44f5-8cfb-5cafa0e9adba" providerId="ADAL" clId="{C41A9FE0-C2A3-4F34-ABC2-854CDB71B6D3}" dt="2025-09-24T13:52:32.957" v="474"/>
        <pc:sldMkLst>
          <pc:docMk/>
          <pc:sldMk cId="2521606696" sldId="2147475027"/>
        </pc:sldMkLst>
      </pc:sldChg>
      <pc:sldChg chg="addSp delSp modSp new mod modTransition">
        <pc:chgData name="Bryan Urbano" userId="1663610d-6c4d-44f5-8cfb-5cafa0e9adba" providerId="ADAL" clId="{C41A9FE0-C2A3-4F34-ABC2-854CDB71B6D3}" dt="2025-09-24T14:34:58.427" v="663"/>
        <pc:sldMkLst>
          <pc:docMk/>
          <pc:sldMk cId="1316944526" sldId="2147475028"/>
        </pc:sldMkLst>
        <pc:spChg chg="mod">
          <ac:chgData name="Bryan Urbano" userId="1663610d-6c4d-44f5-8cfb-5cafa0e9adba" providerId="ADAL" clId="{C41A9FE0-C2A3-4F34-ABC2-854CDB71B6D3}" dt="2025-09-24T14:33:24.380" v="658" actId="20577"/>
          <ac:spMkLst>
            <pc:docMk/>
            <pc:sldMk cId="1316944526" sldId="2147475028"/>
            <ac:spMk id="2" creationId="{D03CF908-BF4E-B089-DFE5-FA95DA7802B6}"/>
          </ac:spMkLst>
        </pc:spChg>
        <pc:spChg chg="del">
          <ac:chgData name="Bryan Urbano" userId="1663610d-6c4d-44f5-8cfb-5cafa0e9adba" providerId="ADAL" clId="{C41A9FE0-C2A3-4F34-ABC2-854CDB71B6D3}" dt="2025-09-24T14:07:39" v="506" actId="478"/>
          <ac:spMkLst>
            <pc:docMk/>
            <pc:sldMk cId="1316944526" sldId="2147475028"/>
            <ac:spMk id="3" creationId="{121AE67A-398B-2FA3-A29A-A35AD1546A38}"/>
          </ac:spMkLst>
        </pc:spChg>
        <pc:spChg chg="add mod">
          <ac:chgData name="Bryan Urbano" userId="1663610d-6c4d-44f5-8cfb-5cafa0e9adba" providerId="ADAL" clId="{C41A9FE0-C2A3-4F34-ABC2-854CDB71B6D3}" dt="2025-09-24T14:32:14.246" v="616" actId="207"/>
          <ac:spMkLst>
            <pc:docMk/>
            <pc:sldMk cId="1316944526" sldId="2147475028"/>
            <ac:spMk id="6" creationId="{768CDEF6-F3E5-1FA5-992E-DDE9EA2713BF}"/>
          </ac:spMkLst>
        </pc:spChg>
        <pc:spChg chg="add mod">
          <ac:chgData name="Bryan Urbano" userId="1663610d-6c4d-44f5-8cfb-5cafa0e9adba" providerId="ADAL" clId="{C41A9FE0-C2A3-4F34-ABC2-854CDB71B6D3}" dt="2025-09-24T14:32:14.246" v="616" actId="207"/>
          <ac:spMkLst>
            <pc:docMk/>
            <pc:sldMk cId="1316944526" sldId="2147475028"/>
            <ac:spMk id="7" creationId="{30631F49-6295-2749-BD85-D991EE11AAD5}"/>
          </ac:spMkLst>
        </pc:spChg>
        <pc:spChg chg="mod">
          <ac:chgData name="Bryan Urbano" userId="1663610d-6c4d-44f5-8cfb-5cafa0e9adba" providerId="ADAL" clId="{C41A9FE0-C2A3-4F34-ABC2-854CDB71B6D3}" dt="2025-09-24T14:34:58.427" v="663"/>
          <ac:spMkLst>
            <pc:docMk/>
            <pc:sldMk cId="1316944526" sldId="2147475028"/>
            <ac:spMk id="14" creationId="{E091DF97-27E1-14C0-BB68-C3CE8AA9968C}"/>
          </ac:spMkLst>
        </pc:spChg>
        <pc:spChg chg="mod">
          <ac:chgData name="Bryan Urbano" userId="1663610d-6c4d-44f5-8cfb-5cafa0e9adba" providerId="ADAL" clId="{C41A9FE0-C2A3-4F34-ABC2-854CDB71B6D3}" dt="2025-09-24T14:34:58.427" v="663"/>
          <ac:spMkLst>
            <pc:docMk/>
            <pc:sldMk cId="1316944526" sldId="2147475028"/>
            <ac:spMk id="15" creationId="{60F2B5C2-0FF7-C37E-D6D9-B96A365083DF}"/>
          </ac:spMkLst>
        </pc:spChg>
        <pc:spChg chg="mod">
          <ac:chgData name="Bryan Urbano" userId="1663610d-6c4d-44f5-8cfb-5cafa0e9adba" providerId="ADAL" clId="{C41A9FE0-C2A3-4F34-ABC2-854CDB71B6D3}" dt="2025-09-24T14:34:58.427" v="663"/>
          <ac:spMkLst>
            <pc:docMk/>
            <pc:sldMk cId="1316944526" sldId="2147475028"/>
            <ac:spMk id="16" creationId="{254A9D98-852B-CFC5-B45D-1054D2015449}"/>
          </ac:spMkLst>
        </pc:spChg>
        <pc:spChg chg="mod">
          <ac:chgData name="Bryan Urbano" userId="1663610d-6c4d-44f5-8cfb-5cafa0e9adba" providerId="ADAL" clId="{C41A9FE0-C2A3-4F34-ABC2-854CDB71B6D3}" dt="2025-09-24T14:34:58.427" v="663"/>
          <ac:spMkLst>
            <pc:docMk/>
            <pc:sldMk cId="1316944526" sldId="2147475028"/>
            <ac:spMk id="17" creationId="{7AFB9198-BCBD-8A7A-AA76-2C2C7E22E4C5}"/>
          </ac:spMkLst>
        </pc:spChg>
        <pc:spChg chg="mod">
          <ac:chgData name="Bryan Urbano" userId="1663610d-6c4d-44f5-8cfb-5cafa0e9adba" providerId="ADAL" clId="{C41A9FE0-C2A3-4F34-ABC2-854CDB71B6D3}" dt="2025-09-24T14:34:58.427" v="663"/>
          <ac:spMkLst>
            <pc:docMk/>
            <pc:sldMk cId="1316944526" sldId="2147475028"/>
            <ac:spMk id="18" creationId="{58345AF4-4D28-B868-A534-D8D23BAECC31}"/>
          </ac:spMkLst>
        </pc:spChg>
        <pc:spChg chg="mod">
          <ac:chgData name="Bryan Urbano" userId="1663610d-6c4d-44f5-8cfb-5cafa0e9adba" providerId="ADAL" clId="{C41A9FE0-C2A3-4F34-ABC2-854CDB71B6D3}" dt="2025-09-24T14:34:58.427" v="663"/>
          <ac:spMkLst>
            <pc:docMk/>
            <pc:sldMk cId="1316944526" sldId="2147475028"/>
            <ac:spMk id="19" creationId="{B85604E6-8FFB-037E-2FAB-1D36376779C6}"/>
          </ac:spMkLst>
        </pc:spChg>
        <pc:spChg chg="mod">
          <ac:chgData name="Bryan Urbano" userId="1663610d-6c4d-44f5-8cfb-5cafa0e9adba" providerId="ADAL" clId="{C41A9FE0-C2A3-4F34-ABC2-854CDB71B6D3}" dt="2025-09-24T14:34:58.427" v="663"/>
          <ac:spMkLst>
            <pc:docMk/>
            <pc:sldMk cId="1316944526" sldId="2147475028"/>
            <ac:spMk id="22" creationId="{FB332238-B638-8625-DF77-387366FC1CB6}"/>
          </ac:spMkLst>
        </pc:spChg>
        <pc:spChg chg="mod">
          <ac:chgData name="Bryan Urbano" userId="1663610d-6c4d-44f5-8cfb-5cafa0e9adba" providerId="ADAL" clId="{C41A9FE0-C2A3-4F34-ABC2-854CDB71B6D3}" dt="2025-09-24T14:34:58.427" v="663"/>
          <ac:spMkLst>
            <pc:docMk/>
            <pc:sldMk cId="1316944526" sldId="2147475028"/>
            <ac:spMk id="23" creationId="{8BCB389C-492C-C9D6-2743-30424BEADAF5}"/>
          </ac:spMkLst>
        </pc:spChg>
        <pc:spChg chg="mod">
          <ac:chgData name="Bryan Urbano" userId="1663610d-6c4d-44f5-8cfb-5cafa0e9adba" providerId="ADAL" clId="{C41A9FE0-C2A3-4F34-ABC2-854CDB71B6D3}" dt="2025-09-24T14:34:58.427" v="663"/>
          <ac:spMkLst>
            <pc:docMk/>
            <pc:sldMk cId="1316944526" sldId="2147475028"/>
            <ac:spMk id="24" creationId="{3AE9EE92-5BFF-8C5D-E677-6E9DC106A1AA}"/>
          </ac:spMkLst>
        </pc:spChg>
        <pc:spChg chg="mod">
          <ac:chgData name="Bryan Urbano" userId="1663610d-6c4d-44f5-8cfb-5cafa0e9adba" providerId="ADAL" clId="{C41A9FE0-C2A3-4F34-ABC2-854CDB71B6D3}" dt="2025-09-24T14:34:58.427" v="663"/>
          <ac:spMkLst>
            <pc:docMk/>
            <pc:sldMk cId="1316944526" sldId="2147475028"/>
            <ac:spMk id="26" creationId="{5FB437ED-77DE-ED7E-CCFF-AFBAB6A21029}"/>
          </ac:spMkLst>
        </pc:spChg>
        <pc:grpChg chg="add del mod">
          <ac:chgData name="Bryan Urbano" userId="1663610d-6c4d-44f5-8cfb-5cafa0e9adba" providerId="ADAL" clId="{C41A9FE0-C2A3-4F34-ABC2-854CDB71B6D3}" dt="2025-09-24T14:33:02.953" v="617" actId="478"/>
          <ac:grpSpMkLst>
            <pc:docMk/>
            <pc:sldMk cId="1316944526" sldId="2147475028"/>
            <ac:grpSpMk id="8" creationId="{D3A1A1E8-1C10-6CB9-3EB5-6AD76860ADE4}"/>
          </ac:grpSpMkLst>
        </pc:grpChg>
        <pc:picChg chg="add del mod">
          <ac:chgData name="Bryan Urbano" userId="1663610d-6c4d-44f5-8cfb-5cafa0e9adba" providerId="ADAL" clId="{C41A9FE0-C2A3-4F34-ABC2-854CDB71B6D3}" dt="2025-09-24T14:33:02.953" v="617" actId="478"/>
          <ac:picMkLst>
            <pc:docMk/>
            <pc:sldMk cId="1316944526" sldId="2147475028"/>
            <ac:picMk id="5" creationId="{EA3427D4-1F3E-7028-012A-C4432A84A277}"/>
          </ac:picMkLst>
        </pc:picChg>
        <pc:picChg chg="add mod">
          <ac:chgData name="Bryan Urbano" userId="1663610d-6c4d-44f5-8cfb-5cafa0e9adba" providerId="ADAL" clId="{C41A9FE0-C2A3-4F34-ABC2-854CDB71B6D3}" dt="2025-09-24T14:33:14.718" v="623" actId="1076"/>
          <ac:picMkLst>
            <pc:docMk/>
            <pc:sldMk cId="1316944526" sldId="2147475028"/>
            <ac:picMk id="10" creationId="{C52FE027-2D1B-8B20-2A6A-34F7868FA346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095504234661081E-2"/>
          <c:y val="4.9250027883595199E-2"/>
          <c:w val="0.91976836233472115"/>
          <c:h val="0.5884394227928363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ndo</c:v>
                </c:pt>
              </c:strCache>
            </c:strRef>
          </c:tx>
          <c:marker>
            <c:symbol val="circle"/>
            <c:size val="7"/>
          </c:marker>
          <c:cat>
            <c:strRef>
              <c:f>Sheet1!$A$2:$A$15</c:f>
              <c:strCache>
                <c:ptCount val="14"/>
                <c:pt idx="0">
                  <c:v>1950 - 1955</c:v>
                </c:pt>
                <c:pt idx="1">
                  <c:v>1955 - 1960</c:v>
                </c:pt>
                <c:pt idx="2">
                  <c:v>1960 - 1965</c:v>
                </c:pt>
                <c:pt idx="3">
                  <c:v>1965 - 1970</c:v>
                </c:pt>
                <c:pt idx="4">
                  <c:v>1970 - 1975</c:v>
                </c:pt>
                <c:pt idx="5">
                  <c:v>1975 - 1980</c:v>
                </c:pt>
                <c:pt idx="6">
                  <c:v>1980 - 1985</c:v>
                </c:pt>
                <c:pt idx="7">
                  <c:v>1985 - 1990</c:v>
                </c:pt>
                <c:pt idx="8">
                  <c:v>1990 - 1995</c:v>
                </c:pt>
                <c:pt idx="9">
                  <c:v>1995 - 2000</c:v>
                </c:pt>
                <c:pt idx="10">
                  <c:v>2000 - 2005</c:v>
                </c:pt>
                <c:pt idx="11">
                  <c:v>2005 - 2010</c:v>
                </c:pt>
                <c:pt idx="12">
                  <c:v>2010 - 2015</c:v>
                </c:pt>
                <c:pt idx="13">
                  <c:v>2015 - 2020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46.959109827315899</c:v>
                </c:pt>
                <c:pt idx="1">
                  <c:v>49.3653805463764</c:v>
                </c:pt>
                <c:pt idx="2">
                  <c:v>51.184065886633697</c:v>
                </c:pt>
                <c:pt idx="3">
                  <c:v>55.432488630709102</c:v>
                </c:pt>
                <c:pt idx="4">
                  <c:v>58.085879037414003</c:v>
                </c:pt>
                <c:pt idx="5">
                  <c:v>60.273490941936302</c:v>
                </c:pt>
                <c:pt idx="6">
                  <c:v>62.0715288757658</c:v>
                </c:pt>
                <c:pt idx="7">
                  <c:v>63.711484866271299</c:v>
                </c:pt>
                <c:pt idx="8">
                  <c:v>64.561470825488897</c:v>
                </c:pt>
                <c:pt idx="9">
                  <c:v>65.630886256057195</c:v>
                </c:pt>
                <c:pt idx="10">
                  <c:v>67.045538869030594</c:v>
                </c:pt>
                <c:pt idx="11">
                  <c:v>68.919050033540003</c:v>
                </c:pt>
                <c:pt idx="12">
                  <c:v>70.876301474524496</c:v>
                </c:pt>
                <c:pt idx="13">
                  <c:v>72.2809122283600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F04-45ED-997D-2720DF3028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íses desarrollados</c:v>
                </c:pt>
              </c:strCache>
            </c:strRef>
          </c:tx>
          <c:spPr>
            <a:ln>
              <a:solidFill>
                <a:schemeClr val="accent4"/>
              </a:solidFill>
            </a:ln>
          </c:spPr>
          <c:marker>
            <c:symbol val="circle"/>
            <c:size val="7"/>
            <c:spPr>
              <a:solidFill>
                <a:schemeClr val="accent4"/>
              </a:solidFill>
            </c:spPr>
          </c:marker>
          <c:cat>
            <c:strRef>
              <c:f>Sheet1!$A$2:$A$15</c:f>
              <c:strCache>
                <c:ptCount val="14"/>
                <c:pt idx="0">
                  <c:v>1950 - 1955</c:v>
                </c:pt>
                <c:pt idx="1">
                  <c:v>1955 - 1960</c:v>
                </c:pt>
                <c:pt idx="2">
                  <c:v>1960 - 1965</c:v>
                </c:pt>
                <c:pt idx="3">
                  <c:v>1965 - 1970</c:v>
                </c:pt>
                <c:pt idx="4">
                  <c:v>1970 - 1975</c:v>
                </c:pt>
                <c:pt idx="5">
                  <c:v>1975 - 1980</c:v>
                </c:pt>
                <c:pt idx="6">
                  <c:v>1980 - 1985</c:v>
                </c:pt>
                <c:pt idx="7">
                  <c:v>1985 - 1990</c:v>
                </c:pt>
                <c:pt idx="8">
                  <c:v>1990 - 1995</c:v>
                </c:pt>
                <c:pt idx="9">
                  <c:v>1995 - 2000</c:v>
                </c:pt>
                <c:pt idx="10">
                  <c:v>2000 - 2005</c:v>
                </c:pt>
                <c:pt idx="11">
                  <c:v>2005 - 2010</c:v>
                </c:pt>
                <c:pt idx="12">
                  <c:v>2010 - 2015</c:v>
                </c:pt>
                <c:pt idx="13">
                  <c:v>2015 - 2020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64.825546574653302</c:v>
                </c:pt>
                <c:pt idx="1">
                  <c:v>67.732151880838202</c:v>
                </c:pt>
                <c:pt idx="2">
                  <c:v>69.489651140927606</c:v>
                </c:pt>
                <c:pt idx="3">
                  <c:v>70.328423865451498</c:v>
                </c:pt>
                <c:pt idx="4">
                  <c:v>71.133687425377602</c:v>
                </c:pt>
                <c:pt idx="5">
                  <c:v>72.023032306517706</c:v>
                </c:pt>
                <c:pt idx="6">
                  <c:v>72.858442108436705</c:v>
                </c:pt>
                <c:pt idx="7">
                  <c:v>73.950582267248905</c:v>
                </c:pt>
                <c:pt idx="8">
                  <c:v>74.162624746059095</c:v>
                </c:pt>
                <c:pt idx="9">
                  <c:v>74.800495744330206</c:v>
                </c:pt>
                <c:pt idx="10">
                  <c:v>75.596746748671293</c:v>
                </c:pt>
                <c:pt idx="11">
                  <c:v>76.934765704521098</c:v>
                </c:pt>
                <c:pt idx="12">
                  <c:v>78.433015394262</c:v>
                </c:pt>
                <c:pt idx="13">
                  <c:v>79.244770439494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F04-45ED-997D-2720DF3028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1043584"/>
        <c:axId val="351045120"/>
      </c:lineChart>
      <c:catAx>
        <c:axId val="351043584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351045120"/>
        <c:crosses val="autoZero"/>
        <c:auto val="1"/>
        <c:lblAlgn val="ctr"/>
        <c:lblOffset val="100"/>
        <c:noMultiLvlLbl val="0"/>
      </c:catAx>
      <c:valAx>
        <c:axId val="351045120"/>
        <c:scaling>
          <c:orientation val="minMax"/>
          <c:max val="85"/>
          <c:min val="4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crossAx val="351043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0355080041583439"/>
          <c:y val="0.66180749470931977"/>
          <c:w val="0.79289820690164348"/>
          <c:h val="0.3144288840890393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bn liabilities since 2008</c:v>
                </c:pt>
              </c:strCache>
            </c:strRef>
          </c:tx>
          <c:invertIfNegative val="0"/>
          <c:cat>
            <c:numRef>
              <c:f>Sheet1!$A$2:$A$17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Sheet1!$B$2:$B$17</c:f>
              <c:numCache>
                <c:formatCode>#,##0</c:formatCode>
                <c:ptCount val="16"/>
                <c:pt idx="0">
                  <c:v>943</c:v>
                </c:pt>
                <c:pt idx="1">
                  <c:v>840</c:v>
                </c:pt>
                <c:pt idx="2">
                  <c:v>2015</c:v>
                </c:pt>
                <c:pt idx="3">
                  <c:v>1476</c:v>
                </c:pt>
                <c:pt idx="4">
                  <c:v>718</c:v>
                </c:pt>
                <c:pt idx="5">
                  <c:v>3560</c:v>
                </c:pt>
                <c:pt idx="6">
                  <c:v>3053</c:v>
                </c:pt>
                <c:pt idx="7">
                  <c:v>4801</c:v>
                </c:pt>
                <c:pt idx="8">
                  <c:v>748</c:v>
                </c:pt>
                <c:pt idx="9">
                  <c:v>2940</c:v>
                </c:pt>
                <c:pt idx="10">
                  <c:v>150</c:v>
                </c:pt>
                <c:pt idx="11">
                  <c:v>3800</c:v>
                </c:pt>
                <c:pt idx="12">
                  <c:v>6700</c:v>
                </c:pt>
                <c:pt idx="13">
                  <c:v>1400</c:v>
                </c:pt>
                <c:pt idx="14">
                  <c:v>4226.3599999999997</c:v>
                </c:pt>
                <c:pt idx="15">
                  <c:v>2574.67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38-4E15-8FE9-2F3AC9F885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24782336"/>
        <c:axId val="324788224"/>
      </c:barChart>
      <c:catAx>
        <c:axId val="3247823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324788224"/>
        <c:crosses val="autoZero"/>
        <c:auto val="1"/>
        <c:lblAlgn val="ctr"/>
        <c:lblOffset val="100"/>
        <c:tickLblSkip val="3"/>
        <c:noMultiLvlLbl val="0"/>
      </c:catAx>
      <c:valAx>
        <c:axId val="32478822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3247823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659193364188257E-2"/>
          <c:y val="6.0900301869311724E-2"/>
          <c:w val="0.87310284306064789"/>
          <c:h val="0.85657821950236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6bn IFRS premium since 1993</c:v>
                </c:pt>
              </c:strCache>
            </c:strRef>
          </c:tx>
          <c:invertIfNegative val="0"/>
          <c:cat>
            <c:strRef>
              <c:f>Sheet1!$A$2:$A$32</c:f>
              <c:strCache>
                <c:ptCount val="31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  <c:pt idx="28">
                  <c:v>2021</c:v>
                </c:pt>
                <c:pt idx="29">
                  <c:v>2022</c:v>
                </c:pt>
                <c:pt idx="30">
                  <c:v>2023</c:v>
                </c:pt>
              </c:strCache>
            </c:strRef>
          </c:cat>
          <c:val>
            <c:numRef>
              <c:f>Sheet1!$B$2:$B$32</c:f>
              <c:numCache>
                <c:formatCode>0</c:formatCode>
                <c:ptCount val="31"/>
                <c:pt idx="0">
                  <c:v>0.79090123000000001</c:v>
                </c:pt>
                <c:pt idx="1">
                  <c:v>2.1945614</c:v>
                </c:pt>
                <c:pt idx="2">
                  <c:v>5.1442368900000002</c:v>
                </c:pt>
                <c:pt idx="3">
                  <c:v>30.212300930000012</c:v>
                </c:pt>
                <c:pt idx="4">
                  <c:v>77.153361890000014</c:v>
                </c:pt>
                <c:pt idx="5">
                  <c:v>85.30158486000002</c:v>
                </c:pt>
                <c:pt idx="6">
                  <c:v>41.222136620000001</c:v>
                </c:pt>
                <c:pt idx="7">
                  <c:v>87.437847919999996</c:v>
                </c:pt>
                <c:pt idx="8">
                  <c:v>181.39056690000001</c:v>
                </c:pt>
                <c:pt idx="9">
                  <c:v>215.20375911000011</c:v>
                </c:pt>
                <c:pt idx="10">
                  <c:v>198.97100306999999</c:v>
                </c:pt>
                <c:pt idx="11">
                  <c:v>27.09209662</c:v>
                </c:pt>
                <c:pt idx="12">
                  <c:v>55.301698570000006</c:v>
                </c:pt>
                <c:pt idx="13">
                  <c:v>114.82264618000001</c:v>
                </c:pt>
                <c:pt idx="14">
                  <c:v>237.09099621000001</c:v>
                </c:pt>
                <c:pt idx="15">
                  <c:v>296.34382010000007</c:v>
                </c:pt>
                <c:pt idx="16">
                  <c:v>436.35580644999999</c:v>
                </c:pt>
                <c:pt idx="17">
                  <c:v>587.25384097999984</c:v>
                </c:pt>
                <c:pt idx="18">
                  <c:v>663.61863211999992</c:v>
                </c:pt>
                <c:pt idx="19">
                  <c:v>596.41835730999992</c:v>
                </c:pt>
                <c:pt idx="20">
                  <c:v>401.05822454000003</c:v>
                </c:pt>
                <c:pt idx="21">
                  <c:v>250.14812013999997</c:v>
                </c:pt>
                <c:pt idx="22">
                  <c:v>195.4511114</c:v>
                </c:pt>
                <c:pt idx="23">
                  <c:v>118.29416743</c:v>
                </c:pt>
                <c:pt idx="24">
                  <c:v>130</c:v>
                </c:pt>
                <c:pt idx="25">
                  <c:v>170</c:v>
                </c:pt>
                <c:pt idx="26">
                  <c:v>110</c:v>
                </c:pt>
                <c:pt idx="27">
                  <c:v>89</c:v>
                </c:pt>
                <c:pt idx="28">
                  <c:v>133</c:v>
                </c:pt>
                <c:pt idx="29">
                  <c:v>121</c:v>
                </c:pt>
                <c:pt idx="30">
                  <c:v>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50-4E08-A6C7-8E4451258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25008768"/>
        <c:axId val="325051520"/>
      </c:barChart>
      <c:catAx>
        <c:axId val="325008768"/>
        <c:scaling>
          <c:orientation val="minMax"/>
        </c:scaling>
        <c:delete val="0"/>
        <c:axPos val="b"/>
        <c:numFmt formatCode="General" sourceLinked="0"/>
        <c:majorTickMark val="none"/>
        <c:minorTickMark val="out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325051520"/>
        <c:crosses val="autoZero"/>
        <c:auto val="1"/>
        <c:lblAlgn val="ctr"/>
        <c:lblOffset val="100"/>
        <c:tickLblSkip val="4"/>
        <c:tickMarkSkip val="1"/>
        <c:noMultiLvlLbl val="0"/>
      </c:catAx>
      <c:valAx>
        <c:axId val="32505152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en-US"/>
          </a:p>
        </c:txPr>
        <c:crossAx val="3250087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A7C5F0-5D83-4530-96A2-D0942650309D}" type="datetimeFigureOut">
              <a:rPr lang="en-GB" smtClean="0"/>
              <a:t>21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D3DC24-E41E-4AB6-B5B8-D26C34FEE4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6560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dirty="0"/>
          </a:p>
          <a:p>
            <a:r>
              <a:rPr lang="en-US" b="0" dirty="0"/>
              <a:t>Mortality statistics are driven by underlying biology, not just past trends, </a:t>
            </a:r>
            <a:r>
              <a:rPr lang="en-US" b="0" dirty="0" err="1"/>
              <a:t>andassuming</a:t>
            </a:r>
            <a:r>
              <a:rPr lang="en-US" b="0" dirty="0"/>
              <a:t> a fixed 2% annual decline in death rates is likely to </a:t>
            </a:r>
            <a:r>
              <a:rPr lang="en-US" b="0" dirty="0" err="1"/>
              <a:t>significantlyoverestimate</a:t>
            </a:r>
            <a:r>
              <a:rPr lang="en-US" b="0" dirty="0"/>
              <a:t> future life expectancy, especially in the United States.</a:t>
            </a:r>
          </a:p>
          <a:p>
            <a:endParaRPr lang="en-GB" b="0" dirty="0"/>
          </a:p>
          <a:p>
            <a:r>
              <a:rPr lang="en-US" b="0" dirty="0"/>
              <a:t>Mortality statistics are driven by biology, not just past statistical trends. </a:t>
            </a:r>
            <a:r>
              <a:rPr lang="en-US" b="0" dirty="0" err="1"/>
              <a:t>Therefore,using</a:t>
            </a:r>
            <a:r>
              <a:rPr lang="en-US" b="0" dirty="0"/>
              <a:t> linear extrapolations of historical data to predict future mortality is flawed.</a:t>
            </a:r>
          </a:p>
          <a:p>
            <a:endParaRPr lang="en-US" b="0" dirty="0"/>
          </a:p>
          <a:p>
            <a:endParaRPr lang="en-GB" b="0" dirty="0"/>
          </a:p>
          <a:p>
            <a:r>
              <a:rPr lang="en-US" b="0" dirty="0"/>
              <a:t>An 87-year longitudinal study was referenced, which concluded that biology is </a:t>
            </a:r>
            <a:r>
              <a:rPr lang="en-US" b="0" dirty="0" err="1"/>
              <a:t>notthe</a:t>
            </a:r>
            <a:r>
              <a:rPr lang="en-US" b="0" dirty="0"/>
              <a:t> sole determinant of successful aging. Social dimensions are equally critical, </a:t>
            </a:r>
            <a:r>
              <a:rPr lang="en-US" b="0" dirty="0" err="1"/>
              <a:t>withthe</a:t>
            </a:r>
            <a:r>
              <a:rPr lang="en-US" b="0" dirty="0"/>
              <a:t> study suggesting that happiness at 80 can be predicted by social interaction </a:t>
            </a:r>
            <a:r>
              <a:rPr lang="en-US" b="0" dirty="0" err="1"/>
              <a:t>andquality</a:t>
            </a:r>
            <a:r>
              <a:rPr lang="en-US" b="0" dirty="0"/>
              <a:t> of life at 50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3DC24-E41E-4AB6-B5B8-D26C34FEE4A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087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 </a:t>
            </a:r>
            <a:r>
              <a:rPr lang="en-GB" dirty="0" err="1"/>
              <a:t>prevención</a:t>
            </a:r>
            <a:r>
              <a:rPr lang="en-GB" dirty="0"/>
              <a:t>, con </a:t>
            </a:r>
            <a:r>
              <a:rPr lang="en-GB" dirty="0" err="1"/>
              <a:t>aydua</a:t>
            </a:r>
            <a:r>
              <a:rPr lang="en-GB" dirty="0"/>
              <a:t> de AI y an´´</a:t>
            </a:r>
            <a:r>
              <a:rPr lang="en-GB" dirty="0" err="1"/>
              <a:t>alisis</a:t>
            </a:r>
            <a:r>
              <a:rPr lang="en-GB" dirty="0"/>
              <a:t> de </a:t>
            </a:r>
            <a:r>
              <a:rPr lang="en-GB" dirty="0" err="1"/>
              <a:t>datos</a:t>
            </a:r>
            <a:endParaRPr lang="en-GB" dirty="0"/>
          </a:p>
          <a:p>
            <a:endParaRPr lang="en-GB" b="0" dirty="0"/>
          </a:p>
          <a:p>
            <a:r>
              <a:rPr lang="en-US" b="0" dirty="0"/>
              <a:t>The traditional insurance model is reactive, paying for costs after an accident </a:t>
            </a:r>
            <a:r>
              <a:rPr lang="en-US" b="0" dirty="0" err="1"/>
              <a:t>orillness</a:t>
            </a:r>
            <a:r>
              <a:rPr lang="en-US" b="0" dirty="0"/>
              <a:t> occurs, relying on old actuarial data. There is a need to shift to a </a:t>
            </a:r>
            <a:r>
              <a:rPr lang="en-US" b="0" dirty="0" err="1"/>
              <a:t>proactive,preventive</a:t>
            </a:r>
            <a:r>
              <a:rPr lang="en-US" b="0" dirty="0"/>
              <a:t> model, as “prevention equals data, and data equals AI.”</a:t>
            </a:r>
          </a:p>
          <a:p>
            <a:r>
              <a:rPr lang="en-US" b="0" dirty="0"/>
              <a:t>This shift requires leveraging new types of data beyond traditional actuarial </a:t>
            </a:r>
            <a:r>
              <a:rPr lang="en-US" b="0" dirty="0" err="1"/>
              <a:t>tables,such</a:t>
            </a:r>
            <a:r>
              <a:rPr lang="en-US" b="0" dirty="0"/>
              <a:t> as genomic, </a:t>
            </a:r>
            <a:r>
              <a:rPr lang="en-US" b="0" dirty="0" err="1"/>
              <a:t>multiomic</a:t>
            </a:r>
            <a:r>
              <a:rPr lang="en-US" b="0" dirty="0"/>
              <a:t>, metabolic, life environment, mental health, and </a:t>
            </a:r>
            <a:r>
              <a:rPr lang="en-US" b="0" dirty="0" err="1"/>
              <a:t>fitnessdata</a:t>
            </a:r>
            <a:r>
              <a:rPr lang="en-US" b="0" dirty="0"/>
              <a:t>.</a:t>
            </a:r>
          </a:p>
          <a:p>
            <a:endParaRPr lang="en-GB" dirty="0"/>
          </a:p>
          <a:p>
            <a:r>
              <a:rPr lang="en-GB" dirty="0"/>
              <a:t>Cambio de </a:t>
            </a:r>
            <a:r>
              <a:rPr lang="en-GB" dirty="0" err="1"/>
              <a:t>mentalidad</a:t>
            </a:r>
            <a:r>
              <a:rPr lang="en-GB" dirty="0"/>
              <a:t>. Ser </a:t>
            </a:r>
            <a:r>
              <a:rPr lang="en-GB" dirty="0" err="1"/>
              <a:t>proactiv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vez</a:t>
            </a:r>
            <a:r>
              <a:rPr lang="en-GB" dirty="0"/>
              <a:t> de </a:t>
            </a:r>
            <a:r>
              <a:rPr lang="en-GB" dirty="0" err="1"/>
              <a:t>reactivos</a:t>
            </a:r>
            <a:endParaRPr lang="en-GB" dirty="0"/>
          </a:p>
          <a:p>
            <a:r>
              <a:rPr lang="en-GB" dirty="0"/>
              <a:t>Redesign the working place</a:t>
            </a:r>
          </a:p>
          <a:p>
            <a:endParaRPr lang="en-GB" b="0" dirty="0"/>
          </a:p>
          <a:p>
            <a:r>
              <a:rPr lang="en-US" b="0" dirty="0"/>
              <a:t>It was suggested that the term “retirement age” should be replaced with “</a:t>
            </a:r>
            <a:r>
              <a:rPr lang="en-US" b="0" dirty="0" err="1"/>
              <a:t>statepension</a:t>
            </a:r>
            <a:r>
              <a:rPr lang="en-US" b="0" dirty="0"/>
              <a:t> age” to reflect that it is not a mandatory age to stop working.</a:t>
            </a:r>
          </a:p>
          <a:p>
            <a:r>
              <a:rPr lang="en-US" b="0" dirty="0"/>
              <a:t>To encourage people to stay in the workforce longer, the nature of work itself </a:t>
            </a:r>
            <a:r>
              <a:rPr lang="en-US" b="0" dirty="0" err="1"/>
              <a:t>needsto</a:t>
            </a:r>
            <a:r>
              <a:rPr lang="en-US" b="0" dirty="0"/>
              <a:t> be re-evaluated.</a:t>
            </a:r>
          </a:p>
          <a:p>
            <a:r>
              <a:rPr lang="en-US" b="0" dirty="0"/>
              <a:t>The modern hybrid workplace can become transactional and lack the </a:t>
            </a:r>
            <a:r>
              <a:rPr lang="en-US" b="0" dirty="0" err="1"/>
              <a:t>spontaneous,enjoyable</a:t>
            </a:r>
            <a:r>
              <a:rPr lang="en-US" b="0" dirty="0"/>
              <a:t> interactions that contribute to job satisfaction, potentially making </a:t>
            </a:r>
            <a:r>
              <a:rPr lang="en-US" b="0" dirty="0" err="1"/>
              <a:t>work“miserable</a:t>
            </a:r>
            <a:r>
              <a:rPr lang="en-US" b="0" dirty="0"/>
              <a:t>.”</a:t>
            </a:r>
          </a:p>
          <a:p>
            <a:endParaRPr lang="en-GB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547354-5CE1-459A-8327-96A6A5B2147C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73015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... split in pension block liabilities and underwritten annuity liabilities</a:t>
            </a:r>
          </a:p>
          <a:p>
            <a:endParaRPr lang="en-US" dirty="0"/>
          </a:p>
          <a:p>
            <a:r>
              <a:rPr lang="en-US" dirty="0"/>
              <a:t>Our wealth of experience is substantiated by a database of more than 4 million policies, over 18 million years of exposure and over 550,000 deaths. For comparison: Half of the portfolios we’ve underwritten have less than 1,600 deaths which gives us a substantial advantage for risk assessment compared to a single insurer or pension schem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F4EEDB6A-38C4-4996-A5FD-5E909304D8B3}" type="slidenum">
              <a:rPr lang="de-DE" sz="800" smtClean="0"/>
              <a:pPr algn="l"/>
              <a:t>20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871439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7248F-6B26-69A8-6C4A-D8876D29F3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AA39E6-F819-BC14-A7C1-459F461465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2B3075-BFD4-2FC7-DC0A-A3F8A8C8BA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dirty="0"/>
          </a:p>
          <a:p>
            <a:r>
              <a:rPr lang="en-US" b="0" dirty="0"/>
              <a:t>Mortality statistics are driven by underlying biology, not just past trends, </a:t>
            </a:r>
            <a:r>
              <a:rPr lang="en-US" b="0" dirty="0" err="1"/>
              <a:t>andassuming</a:t>
            </a:r>
            <a:r>
              <a:rPr lang="en-US" b="0" dirty="0"/>
              <a:t> a fixed 2% annual decline in death rates is likely to </a:t>
            </a:r>
            <a:r>
              <a:rPr lang="en-US" b="0" dirty="0" err="1"/>
              <a:t>significantlyoverestimate</a:t>
            </a:r>
            <a:r>
              <a:rPr lang="en-US" b="0" dirty="0"/>
              <a:t> future life expectancy, especially in the United States.</a:t>
            </a:r>
          </a:p>
          <a:p>
            <a:endParaRPr lang="en-GB" b="0" dirty="0"/>
          </a:p>
          <a:p>
            <a:r>
              <a:rPr lang="en-US" b="0" dirty="0"/>
              <a:t>Mortality statistics are driven by biology, not just past statistical trends. </a:t>
            </a:r>
            <a:r>
              <a:rPr lang="en-US" b="0" dirty="0" err="1"/>
              <a:t>Therefore,using</a:t>
            </a:r>
            <a:r>
              <a:rPr lang="en-US" b="0" dirty="0"/>
              <a:t> linear extrapolations of historical data to predict future mortality is flawed.</a:t>
            </a:r>
          </a:p>
          <a:p>
            <a:endParaRPr lang="en-US" b="0" dirty="0"/>
          </a:p>
          <a:p>
            <a:endParaRPr lang="en-GB" b="0" dirty="0"/>
          </a:p>
          <a:p>
            <a:r>
              <a:rPr lang="en-US" b="0" dirty="0"/>
              <a:t>An 87-year longitudinal study was referenced, which concluded that biology is </a:t>
            </a:r>
            <a:r>
              <a:rPr lang="en-US" b="0" dirty="0" err="1"/>
              <a:t>notthe</a:t>
            </a:r>
            <a:r>
              <a:rPr lang="en-US" b="0" dirty="0"/>
              <a:t> sole determinant of successful aging. Social dimensions are equally critical, </a:t>
            </a:r>
            <a:r>
              <a:rPr lang="en-US" b="0" dirty="0" err="1"/>
              <a:t>withthe</a:t>
            </a:r>
            <a:r>
              <a:rPr lang="en-US" b="0" dirty="0"/>
              <a:t> study suggesting that happiness at 80 can be predicted by social interaction </a:t>
            </a:r>
            <a:r>
              <a:rPr lang="en-US" b="0" dirty="0" err="1"/>
              <a:t>andquality</a:t>
            </a:r>
            <a:r>
              <a:rPr lang="en-US" b="0" dirty="0"/>
              <a:t> of life at 50.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7C88AD-43EF-34A6-ADDD-8E023B3FEE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3DC24-E41E-4AB6-B5B8-D26C34FEE4A9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3331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74D910-FCA3-40E7-2798-6AAD26D531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05EAE9-9B6D-28AB-1FDD-6AF0A6E9BE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E8F36E-FCB2-D229-97FB-EF2946A748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dirty="0"/>
          </a:p>
          <a:p>
            <a:r>
              <a:rPr lang="en-US" b="0" dirty="0"/>
              <a:t>Mortality statistics are driven by underlying biology, not just past trends, </a:t>
            </a:r>
            <a:r>
              <a:rPr lang="en-US" b="0" dirty="0" err="1"/>
              <a:t>andassuming</a:t>
            </a:r>
            <a:r>
              <a:rPr lang="en-US" b="0" dirty="0"/>
              <a:t> a fixed 2% annual decline in death rates is likely to </a:t>
            </a:r>
            <a:r>
              <a:rPr lang="en-US" b="0" dirty="0" err="1"/>
              <a:t>significantlyoverestimate</a:t>
            </a:r>
            <a:r>
              <a:rPr lang="en-US" b="0" dirty="0"/>
              <a:t> future life expectancy, especially in the United States.</a:t>
            </a:r>
          </a:p>
          <a:p>
            <a:endParaRPr lang="en-GB" b="0" dirty="0"/>
          </a:p>
          <a:p>
            <a:r>
              <a:rPr lang="en-US" b="0" dirty="0"/>
              <a:t>Mortality statistics are driven by biology, not just past statistical trends. </a:t>
            </a:r>
            <a:r>
              <a:rPr lang="en-US" b="0" dirty="0" err="1"/>
              <a:t>Therefore,using</a:t>
            </a:r>
            <a:r>
              <a:rPr lang="en-US" b="0" dirty="0"/>
              <a:t> linear extrapolations of historical data to predict future mortality is flawed.</a:t>
            </a:r>
          </a:p>
          <a:p>
            <a:endParaRPr lang="en-US" b="0" dirty="0"/>
          </a:p>
          <a:p>
            <a:endParaRPr lang="en-GB" b="0" dirty="0"/>
          </a:p>
          <a:p>
            <a:r>
              <a:rPr lang="en-US" b="0" dirty="0"/>
              <a:t>An 87-year longitudinal study was referenced, which concluded that biology is </a:t>
            </a:r>
            <a:r>
              <a:rPr lang="en-US" b="0" dirty="0" err="1"/>
              <a:t>notthe</a:t>
            </a:r>
            <a:r>
              <a:rPr lang="en-US" b="0" dirty="0"/>
              <a:t> sole determinant of successful aging. Social dimensions are equally critical, </a:t>
            </a:r>
            <a:r>
              <a:rPr lang="en-US" b="0" dirty="0" err="1"/>
              <a:t>withthe</a:t>
            </a:r>
            <a:r>
              <a:rPr lang="en-US" b="0" dirty="0"/>
              <a:t> study suggesting that happiness at 80 can be predicted by social interaction </a:t>
            </a:r>
            <a:r>
              <a:rPr lang="en-US" b="0" dirty="0" err="1"/>
              <a:t>andquality</a:t>
            </a:r>
            <a:r>
              <a:rPr lang="en-US" b="0" dirty="0"/>
              <a:t> of life at 50.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DF4A22-A188-E22A-AECF-93CDD1251F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3DC24-E41E-4AB6-B5B8-D26C34FEE4A9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3142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US" b="0" dirty="0"/>
              <a:t>Lifespan refers to the total number of years a person lives, from birth to death. </a:t>
            </a:r>
            <a:r>
              <a:rPr lang="en-US" b="0" dirty="0" err="1"/>
              <a:t>Healthspan</a:t>
            </a:r>
            <a:r>
              <a:rPr lang="en-US" b="0" dirty="0"/>
              <a:t> is a concept that focuses on the number of those years that a person remains free of significant illness or disease.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3DC24-E41E-4AB6-B5B8-D26C34FEE4A9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2766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i lo </a:t>
            </a:r>
            <a:r>
              <a:rPr lang="en-GB" dirty="0" err="1"/>
              <a:t>vem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precio</a:t>
            </a:r>
            <a:endParaRPr lang="en-GB" dirty="0"/>
          </a:p>
          <a:p>
            <a:endParaRPr lang="en-GB" dirty="0"/>
          </a:p>
          <a:p>
            <a:r>
              <a:rPr lang="en-GB" dirty="0"/>
              <a:t>El </a:t>
            </a:r>
            <a:r>
              <a:rPr lang="en-GB" dirty="0" err="1"/>
              <a:t>precio</a:t>
            </a:r>
            <a:r>
              <a:rPr lang="en-GB" dirty="0"/>
              <a:t> de las </a:t>
            </a:r>
            <a:r>
              <a:rPr lang="en-GB" dirty="0" err="1"/>
              <a:t>edades</a:t>
            </a:r>
            <a:r>
              <a:rPr lang="en-GB" dirty="0"/>
              <a:t> </a:t>
            </a:r>
            <a:r>
              <a:rPr lang="en-GB" dirty="0" err="1"/>
              <a:t>avanzadas</a:t>
            </a:r>
            <a:r>
              <a:rPr lang="en-GB" dirty="0"/>
              <a:t> 5 </a:t>
            </a:r>
            <a:r>
              <a:rPr lang="en-GB" dirty="0" err="1"/>
              <a:t>veces</a:t>
            </a:r>
            <a:r>
              <a:rPr lang="en-GB" dirty="0"/>
              <a:t> mayor que la de </a:t>
            </a:r>
            <a:r>
              <a:rPr lang="en-GB" dirty="0" err="1"/>
              <a:t>una</a:t>
            </a:r>
            <a:r>
              <a:rPr lang="en-GB" dirty="0"/>
              <a:t> catastrophe natural </a:t>
            </a:r>
            <a:r>
              <a:rPr lang="en-GB" dirty="0" err="1"/>
              <a:t>promedio</a:t>
            </a:r>
            <a:endParaRPr lang="en-GB" dirty="0"/>
          </a:p>
          <a:p>
            <a:endParaRPr lang="en-GB" dirty="0"/>
          </a:p>
          <a:p>
            <a:r>
              <a:rPr lang="en-GB" dirty="0" err="1"/>
              <a:t>Quién</a:t>
            </a:r>
            <a:r>
              <a:rPr lang="en-GB" dirty="0"/>
              <a:t> lo </a:t>
            </a:r>
            <a:r>
              <a:rPr lang="en-GB" dirty="0" err="1"/>
              <a:t>va</a:t>
            </a:r>
            <a:r>
              <a:rPr lang="en-GB" dirty="0"/>
              <a:t> a </a:t>
            </a:r>
            <a:r>
              <a:rPr lang="en-GB" dirty="0" err="1"/>
              <a:t>pagar</a:t>
            </a:r>
            <a:r>
              <a:rPr lang="en-GB" dirty="0"/>
              <a:t>?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3DC24-E41E-4AB6-B5B8-D26C34FEE4A9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93860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dirty="0"/>
          </a:p>
          <a:p>
            <a:r>
              <a:rPr lang="en-US" b="0" dirty="0"/>
              <a:t>The Total Fertility Rate (TFR), or the total number of babies per woman, </a:t>
            </a:r>
            <a:r>
              <a:rPr lang="en-US" b="0" dirty="0" err="1"/>
              <a:t>hasdeclined</a:t>
            </a:r>
            <a:r>
              <a:rPr lang="en-US" b="0" dirty="0"/>
              <a:t> dramatically in many parts of the world, with a replacement rate of 2.1.South Korea’s TFR, for example, is close to 0.7.</a:t>
            </a:r>
          </a:p>
          <a:p>
            <a:r>
              <a:rPr lang="en-US" b="0" dirty="0"/>
              <a:t>Despite falling TFRs, the global population is still projected to rise from 8.5 billion </a:t>
            </a:r>
            <a:r>
              <a:rPr lang="en-US" b="0" dirty="0" err="1"/>
              <a:t>toat</a:t>
            </a:r>
            <a:r>
              <a:rPr lang="en-US" b="0" dirty="0"/>
              <a:t> least 10 billion people by mid-century due to demographic momentum (</a:t>
            </a:r>
            <a:r>
              <a:rPr lang="en-US" b="0" dirty="0" err="1"/>
              <a:t>pasttrends</a:t>
            </a:r>
            <a:r>
              <a:rPr lang="en-US" b="0" dirty="0"/>
              <a:t> in fertility and larger growing age structures). Predictions of </a:t>
            </a:r>
            <a:r>
              <a:rPr lang="en-US" b="0" dirty="0" err="1"/>
              <a:t>populationcollapse</a:t>
            </a:r>
            <a:r>
              <a:rPr lang="en-US" b="0" dirty="0"/>
              <a:t> are considered unfounded, and “cockamamie schemes” like </a:t>
            </a:r>
            <a:r>
              <a:rPr lang="en-US" b="0" dirty="0" err="1"/>
              <a:t>Singapore’s“love</a:t>
            </a:r>
            <a:r>
              <a:rPr lang="en-US" b="0" dirty="0"/>
              <a:t> cursers” to raise fertility have failed.</a:t>
            </a:r>
          </a:p>
          <a:p>
            <a:r>
              <a:rPr lang="en-US" b="0" dirty="0"/>
              <a:t>The decline in fertility is strongly associated with the education of women, a </a:t>
            </a:r>
            <a:r>
              <a:rPr lang="en-US" b="0" dirty="0" err="1"/>
              <a:t>trendthat</a:t>
            </a:r>
            <a:r>
              <a:rPr lang="en-US" b="0" dirty="0"/>
              <a:t> is unlikely to be reversed.</a:t>
            </a:r>
          </a:p>
          <a:p>
            <a:r>
              <a:rPr lang="en-US" b="0" dirty="0"/>
              <a:t>Increasing fertility rates is not a short-term solution to demographic challenges, as </a:t>
            </a:r>
            <a:r>
              <a:rPr lang="en-US" b="0" dirty="0" err="1"/>
              <a:t>itwould</a:t>
            </a:r>
            <a:r>
              <a:rPr lang="en-US" b="0" dirty="0"/>
              <a:t> take over 20 years before new children enter the workforce, </a:t>
            </a:r>
            <a:r>
              <a:rPr lang="en-US" b="0" dirty="0" err="1"/>
              <a:t>temporarilyincreasing</a:t>
            </a:r>
            <a:r>
              <a:rPr lang="en-US" b="0" dirty="0"/>
              <a:t> the dependency ratio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3DC24-E41E-4AB6-B5B8-D26C34FEE4A9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7428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12 </a:t>
            </a:r>
            <a:r>
              <a:rPr lang="en-GB" dirty="0" err="1"/>
              <a:t>trabajadores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</a:t>
            </a:r>
            <a:r>
              <a:rPr lang="en-GB" dirty="0" err="1"/>
              <a:t>cada</a:t>
            </a:r>
            <a:r>
              <a:rPr lang="en-GB" dirty="0"/>
              <a:t> persona </a:t>
            </a:r>
            <a:r>
              <a:rPr lang="en-GB" dirty="0" err="1"/>
              <a:t>arriba</a:t>
            </a:r>
            <a:r>
              <a:rPr lang="en-GB" dirty="0"/>
              <a:t> de los 65 y </a:t>
            </a:r>
            <a:r>
              <a:rPr lang="en-GB" dirty="0" err="1"/>
              <a:t>ahora</a:t>
            </a:r>
            <a:r>
              <a:rPr lang="en-GB" dirty="0"/>
              <a:t> bajo a 4</a:t>
            </a:r>
          </a:p>
          <a:p>
            <a:r>
              <a:rPr lang="en-GB" dirty="0"/>
              <a:t>Se </a:t>
            </a:r>
            <a:r>
              <a:rPr lang="en-GB" dirty="0" err="1"/>
              <a:t>refleja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nuestras</a:t>
            </a:r>
            <a:r>
              <a:rPr lang="en-GB" dirty="0"/>
              <a:t> </a:t>
            </a:r>
            <a:r>
              <a:rPr lang="en-GB" dirty="0" err="1"/>
              <a:t>economias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3DC24-E41E-4AB6-B5B8-D26C34FEE4A9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80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Reevaluación</a:t>
            </a:r>
            <a:r>
              <a:rPr lang="en-GB" dirty="0"/>
              <a:t> </a:t>
            </a:r>
            <a:r>
              <a:rPr lang="en-GB" dirty="0" err="1"/>
              <a:t>Socioeconómica</a:t>
            </a:r>
            <a:endParaRPr lang="en-GB" dirty="0"/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GB" dirty="0" err="1"/>
              <a:t>Revisar</a:t>
            </a:r>
            <a:r>
              <a:rPr lang="en-GB" dirty="0"/>
              <a:t> </a:t>
            </a:r>
            <a:r>
              <a:rPr lang="en-GB" dirty="0" err="1"/>
              <a:t>estructuras</a:t>
            </a:r>
            <a:r>
              <a:rPr lang="en-GB" dirty="0"/>
              <a:t> y </a:t>
            </a:r>
            <a:r>
              <a:rPr lang="en-GB" dirty="0" err="1"/>
              <a:t>sistemaspara</a:t>
            </a:r>
            <a:r>
              <a:rPr lang="en-GB" dirty="0"/>
              <a:t> </a:t>
            </a:r>
            <a:r>
              <a:rPr lang="en-GB" dirty="0" err="1"/>
              <a:t>acomodar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incremento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población mayor que </a:t>
            </a:r>
            <a:r>
              <a:rPr lang="en-GB" dirty="0" err="1"/>
              <a:t>vive</a:t>
            </a:r>
            <a:r>
              <a:rPr lang="en-GB" dirty="0"/>
              <a:t> major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There is a pressing need for people to work more years to ensure </a:t>
            </a:r>
            <a:r>
              <a:rPr lang="en-US" dirty="0" err="1"/>
              <a:t>economicsustainability</a:t>
            </a:r>
            <a:r>
              <a:rPr lang="en-US" dirty="0"/>
              <a:t>. In Europe, people work for an average of about 28 years </a:t>
            </a:r>
            <a:r>
              <a:rPr lang="en-US" dirty="0" err="1"/>
              <a:t>betweenages</a:t>
            </a:r>
            <a:r>
              <a:rPr lang="en-US" dirty="0"/>
              <a:t> 15 and 65, which is economically unsustainable for a lifespan of 80 years.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mpacto </a:t>
            </a:r>
            <a:r>
              <a:rPr lang="en-GB" dirty="0" err="1"/>
              <a:t>en</a:t>
            </a:r>
            <a:r>
              <a:rPr lang="en-GB" dirty="0"/>
              <a:t> 20 </a:t>
            </a:r>
            <a:r>
              <a:rPr lang="en-GB" dirty="0" err="1"/>
              <a:t>años</a:t>
            </a:r>
            <a:endParaRPr lang="en-GB" dirty="0"/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GB" dirty="0"/>
              <a:t>Como se </a:t>
            </a:r>
            <a:r>
              <a:rPr lang="en-GB" dirty="0" err="1"/>
              <a:t>preveé</a:t>
            </a:r>
            <a:r>
              <a:rPr lang="en-GB" dirty="0"/>
              <a:t> que la Esperanza de </a:t>
            </a:r>
            <a:r>
              <a:rPr lang="en-GB" dirty="0" err="1"/>
              <a:t>vida</a:t>
            </a:r>
            <a:r>
              <a:rPr lang="en-GB" dirty="0"/>
              <a:t> </a:t>
            </a:r>
            <a:r>
              <a:rPr lang="en-GB" dirty="0" err="1"/>
              <a:t>crezca</a:t>
            </a:r>
            <a:r>
              <a:rPr lang="en-GB" dirty="0"/>
              <a:t> se </a:t>
            </a:r>
            <a:r>
              <a:rPr lang="en-GB" dirty="0" err="1"/>
              <a:t>debe</a:t>
            </a:r>
            <a:r>
              <a:rPr lang="en-GB" dirty="0"/>
              <a:t> </a:t>
            </a:r>
            <a:r>
              <a:rPr lang="en-GB" dirty="0" err="1"/>
              <a:t>planear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las </a:t>
            </a:r>
            <a:r>
              <a:rPr lang="en-GB" dirty="0" err="1"/>
              <a:t>esferas</a:t>
            </a:r>
            <a:r>
              <a:rPr lang="en-GB" dirty="0"/>
              <a:t> de </a:t>
            </a:r>
            <a:r>
              <a:rPr lang="en-GB" dirty="0" err="1"/>
              <a:t>salud</a:t>
            </a:r>
            <a:r>
              <a:rPr lang="en-GB" dirty="0"/>
              <a:t>, </a:t>
            </a:r>
            <a:r>
              <a:rPr lang="en-GB" dirty="0" err="1"/>
              <a:t>seguros</a:t>
            </a:r>
            <a:r>
              <a:rPr lang="en-GB" dirty="0"/>
              <a:t> y </a:t>
            </a:r>
            <a:r>
              <a:rPr lang="en-GB" dirty="0" err="1"/>
              <a:t>estrategia</a:t>
            </a:r>
            <a:r>
              <a:rPr lang="en-GB" dirty="0"/>
              <a:t> </a:t>
            </a:r>
            <a:r>
              <a:rPr lang="en-GB" dirty="0" err="1"/>
              <a:t>fianciera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Descubrimientos</a:t>
            </a:r>
            <a:r>
              <a:rPr lang="en-GB" dirty="0"/>
              <a:t> e </a:t>
            </a:r>
            <a:r>
              <a:rPr lang="en-GB" dirty="0" err="1"/>
              <a:t>Investigación</a:t>
            </a:r>
            <a:endParaRPr lang="en-GB" dirty="0"/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GB" dirty="0"/>
              <a:t>Medicina regenerative, </a:t>
            </a:r>
            <a:r>
              <a:rPr lang="en-GB" dirty="0" err="1"/>
              <a:t>terapias</a:t>
            </a:r>
            <a:r>
              <a:rPr lang="en-GB" dirty="0"/>
              <a:t> </a:t>
            </a:r>
            <a:r>
              <a:rPr lang="en-GB" dirty="0" err="1"/>
              <a:t>geneticas</a:t>
            </a:r>
            <a:r>
              <a:rPr lang="en-GB" dirty="0"/>
              <a:t> y </a:t>
            </a:r>
            <a:r>
              <a:rPr lang="en-GB" dirty="0" err="1"/>
              <a:t>biotecnología</a:t>
            </a:r>
            <a:r>
              <a:rPr lang="en-GB" dirty="0"/>
              <a:t> que </a:t>
            </a:r>
            <a:r>
              <a:rPr lang="en-GB" dirty="0" err="1"/>
              <a:t>puedan</a:t>
            </a:r>
            <a:r>
              <a:rPr lang="en-GB" dirty="0"/>
              <a:t> </a:t>
            </a:r>
            <a:r>
              <a:rPr lang="en-GB" dirty="0" err="1"/>
              <a:t>incrementar</a:t>
            </a:r>
            <a:r>
              <a:rPr lang="en-GB" dirty="0"/>
              <a:t> la Esperanza de </a:t>
            </a:r>
            <a:r>
              <a:rPr lang="en-GB" dirty="0" err="1"/>
              <a:t>vida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speranza de </a:t>
            </a:r>
            <a:r>
              <a:rPr lang="en-GB" dirty="0" err="1"/>
              <a:t>vida</a:t>
            </a:r>
            <a:r>
              <a:rPr lang="en-GB" dirty="0"/>
              <a:t> </a:t>
            </a:r>
            <a:r>
              <a:rPr lang="en-GB" dirty="0" err="1"/>
              <a:t>proyectada</a:t>
            </a:r>
            <a:endParaRPr lang="en-GB" dirty="0"/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GB" dirty="0"/>
              <a:t>Si </a:t>
            </a:r>
            <a:r>
              <a:rPr lang="en-GB" dirty="0" err="1"/>
              <a:t>sigue</a:t>
            </a:r>
            <a:r>
              <a:rPr lang="en-GB" dirty="0"/>
              <a:t> la </a:t>
            </a:r>
            <a:r>
              <a:rPr lang="en-GB" dirty="0" err="1"/>
              <a:t>tendencia</a:t>
            </a:r>
            <a:r>
              <a:rPr lang="en-GB" dirty="0"/>
              <a:t> </a:t>
            </a:r>
            <a:r>
              <a:rPr lang="en-GB" dirty="0" err="1"/>
              <a:t>lpodría</a:t>
            </a:r>
            <a:r>
              <a:rPr lang="en-GB" dirty="0"/>
              <a:t> </a:t>
            </a:r>
            <a:r>
              <a:rPr lang="en-GB" dirty="0" err="1"/>
              <a:t>crecer</a:t>
            </a:r>
            <a:r>
              <a:rPr lang="en-GB" dirty="0"/>
              <a:t> y </a:t>
            </a:r>
            <a:r>
              <a:rPr lang="en-GB" dirty="0" err="1"/>
              <a:t>tener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personas que </a:t>
            </a:r>
            <a:r>
              <a:rPr lang="en-GB" dirty="0" err="1"/>
              <a:t>puedan</a:t>
            </a:r>
            <a:r>
              <a:rPr lang="en-GB" dirty="0"/>
              <a:t> </a:t>
            </a:r>
            <a:r>
              <a:rPr lang="en-GB" dirty="0" err="1"/>
              <a:t>vivr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años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3DC24-E41E-4AB6-B5B8-D26C34FEE4A9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03184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F8D65E-1036-2910-CB9B-2003649E2B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E09FB54-3865-4537-1BFD-4D236F903C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C04A734-2D83-3972-589E-4F91E70D52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eguros de </a:t>
            </a:r>
            <a:r>
              <a:rPr lang="en-GB" dirty="0" err="1"/>
              <a:t>vida</a:t>
            </a:r>
            <a:r>
              <a:rPr lang="en-GB" dirty="0"/>
              <a:t>: Valores </a:t>
            </a:r>
            <a:r>
              <a:rPr lang="en-GB" dirty="0" err="1"/>
              <a:t>asegurados</a:t>
            </a:r>
            <a:r>
              <a:rPr lang="en-GB" dirty="0"/>
              <a:t> no se </a:t>
            </a:r>
            <a:r>
              <a:rPr lang="en-GB" dirty="0" err="1"/>
              <a:t>adaptan</a:t>
            </a:r>
            <a:endParaRPr lang="en-GB" dirty="0"/>
          </a:p>
          <a:p>
            <a:r>
              <a:rPr lang="en-GB" dirty="0"/>
              <a:t>Seguros de </a:t>
            </a:r>
            <a:r>
              <a:rPr lang="en-GB" dirty="0" err="1"/>
              <a:t>salud</a:t>
            </a:r>
            <a:r>
              <a:rPr lang="en-GB" dirty="0"/>
              <a:t>: Más </a:t>
            </a:r>
            <a:r>
              <a:rPr lang="en-GB" dirty="0" err="1"/>
              <a:t>caro</a:t>
            </a:r>
            <a:r>
              <a:rPr lang="en-GB" dirty="0"/>
              <a:t>,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tratamientos</a:t>
            </a:r>
            <a:r>
              <a:rPr lang="en-GB" dirty="0"/>
              <a:t>,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examenes</a:t>
            </a:r>
            <a:r>
              <a:rPr lang="en-GB" dirty="0"/>
              <a:t>, </a:t>
            </a:r>
            <a:r>
              <a:rPr lang="en-GB" dirty="0" err="1"/>
              <a:t>cambios</a:t>
            </a:r>
            <a:r>
              <a:rPr lang="en-GB" dirty="0"/>
              <a:t> </a:t>
            </a:r>
            <a:r>
              <a:rPr lang="en-GB" dirty="0" err="1"/>
              <a:t>regulatorios</a:t>
            </a:r>
            <a:endParaRPr lang="en-GB" dirty="0"/>
          </a:p>
          <a:p>
            <a:r>
              <a:rPr lang="en-GB" dirty="0"/>
              <a:t>Wealth management: Como </a:t>
            </a:r>
            <a:r>
              <a:rPr lang="en-GB" dirty="0" err="1"/>
              <a:t>viven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, </a:t>
            </a:r>
            <a:r>
              <a:rPr lang="en-GB" dirty="0" err="1"/>
              <a:t>deberían</a:t>
            </a:r>
            <a:r>
              <a:rPr lang="en-GB" dirty="0"/>
              <a:t> usar sus </a:t>
            </a:r>
            <a:r>
              <a:rPr lang="en-GB" dirty="0" err="1"/>
              <a:t>recursos</a:t>
            </a:r>
            <a:r>
              <a:rPr lang="en-GB" dirty="0"/>
              <a:t>. </a:t>
            </a:r>
            <a:r>
              <a:rPr lang="en-GB" dirty="0" err="1"/>
              <a:t>Trabajar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años</a:t>
            </a:r>
            <a:r>
              <a:rPr lang="en-GB" dirty="0"/>
              <a:t> y </a:t>
            </a:r>
            <a:r>
              <a:rPr lang="en-GB" dirty="0" err="1"/>
              <a:t>guardar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dinero (</a:t>
            </a:r>
            <a:r>
              <a:rPr lang="en-GB" dirty="0" err="1"/>
              <a:t>mejorar</a:t>
            </a:r>
            <a:r>
              <a:rPr lang="en-GB" dirty="0"/>
              <a:t> inversions)</a:t>
            </a:r>
          </a:p>
          <a:p>
            <a:r>
              <a:rPr lang="en-GB" dirty="0" err="1"/>
              <a:t>Pensiones</a:t>
            </a:r>
            <a:r>
              <a:rPr lang="en-GB" dirty="0"/>
              <a:t>: </a:t>
            </a:r>
            <a:r>
              <a:rPr lang="en-GB" dirty="0" err="1"/>
              <a:t>Podría</a:t>
            </a:r>
            <a:r>
              <a:rPr lang="en-GB" dirty="0"/>
              <a:t> </a:t>
            </a:r>
            <a:r>
              <a:rPr lang="en-GB" dirty="0" err="1"/>
              <a:t>resultar</a:t>
            </a:r>
            <a:r>
              <a:rPr lang="en-GB" dirty="0"/>
              <a:t> </a:t>
            </a:r>
            <a:r>
              <a:rPr lang="en-GB" dirty="0" err="1"/>
              <a:t>insuficiente</a:t>
            </a:r>
            <a:r>
              <a:rPr lang="en-GB" dirty="0"/>
              <a:t> y las </a:t>
            </a:r>
            <a:r>
              <a:rPr lang="en-GB" dirty="0" err="1"/>
              <a:t>ocmpañías</a:t>
            </a:r>
            <a:r>
              <a:rPr lang="en-GB" dirty="0"/>
              <a:t> sin capital para </a:t>
            </a:r>
            <a:r>
              <a:rPr lang="en-GB" dirty="0" err="1"/>
              <a:t>pagarlas</a:t>
            </a:r>
            <a:r>
              <a:rPr lang="en-GB" dirty="0"/>
              <a:t>.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F3F6BCD-DE12-0A78-4FED-3628E66626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547354-5CE1-459A-8327-96A6A5B2147C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3241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060BA6-1AFE-6EC1-D964-3568D124C7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9012CB-9309-1EF8-7AD0-F24DD6A5F5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338" y="2375159"/>
            <a:ext cx="5310187" cy="720000"/>
          </a:xfrm>
          <a:noFill/>
        </p:spPr>
        <p:txBody>
          <a:bodyPr anchor="t" anchorCtr="0"/>
          <a:lstStyle>
            <a:lvl1pPr algn="l">
              <a:lnSpc>
                <a:spcPct val="98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6B90887-ED35-5A20-7C9B-459ACC258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525" y="3024913"/>
            <a:ext cx="5310000" cy="1800000"/>
          </a:xfrm>
        </p:spPr>
        <p:txBody>
          <a:bodyPr tIns="259200"/>
          <a:lstStyle>
            <a:lvl1pPr marL="0" indent="0" algn="l">
              <a:lnSpc>
                <a:spcPct val="100000"/>
              </a:lnSpc>
              <a:spcAft>
                <a:spcPts val="16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00" b="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buNone/>
              <a:defRPr sz="1400"/>
            </a:lvl7pPr>
            <a:lvl8pPr marL="0" indent="0" algn="l">
              <a:lnSpc>
                <a:spcPct val="100000"/>
              </a:lnSpc>
              <a:buNone/>
              <a:defRPr sz="1400"/>
            </a:lvl8pPr>
            <a:lvl9pPr marL="0" indent="0" algn="l">
              <a:lnSpc>
                <a:spcPct val="100000"/>
              </a:lnSpc>
              <a:buNone/>
              <a:defRPr sz="1400"/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9C6DEC-DBDD-FC01-FA7E-98919C01D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38" y="283377"/>
            <a:ext cx="2311200" cy="30338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1BBB2-EB11-D2F5-8AC3-BBF9BB3D2A20}"/>
              </a:ext>
            </a:extLst>
          </p:cNvPr>
          <p:cNvCxnSpPr/>
          <p:nvPr/>
        </p:nvCxnSpPr>
        <p:spPr>
          <a:xfrm>
            <a:off x="287336" y="2093439"/>
            <a:ext cx="531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5A68FFC5-B3C2-494C-58EE-8E70F9FDCA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15" y="6440208"/>
            <a:ext cx="1515600" cy="16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269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96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pos="7497">
          <p15:clr>
            <a:srgbClr val="FFC000"/>
          </p15:clr>
        </p15:guide>
        <p15:guide id="5" pos="178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73">
          <p15:clr>
            <a:srgbClr val="FFC00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light, Lin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7358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dark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2418168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7000" b="0" kern="1200" spc="-500" baseline="0">
                <a:solidFill>
                  <a:schemeClr val="bg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3B064D5-18ED-8929-D911-00D06ABEE77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275322-EFFD-0088-ECD5-FCBA7849045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B9B72513-928F-1512-0B21-FDD4422728AA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rgbClr val="25421C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CE893564-5FFC-47CD-6D92-4F47BAD9A0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rgbClr val="25421C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043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1529">
          <p15:clr>
            <a:srgbClr val="FFC000"/>
          </p15:clr>
        </p15:guide>
        <p15:guide id="3" orient="horz" pos="1347">
          <p15:clr>
            <a:srgbClr val="FFC000"/>
          </p15:clr>
        </p15:guide>
        <p15:guide id="4" pos="170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ght">
    <p:bg>
      <p:bgPr>
        <a:solidFill>
          <a:srgbClr val="2542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200" y="1227600"/>
            <a:ext cx="5634000" cy="846000"/>
          </a:xfrm>
        </p:spPr>
        <p:txBody>
          <a:bodyPr anchor="b" anchorCtr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EC3744-8767-F352-6BF4-168B27406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63393" y="2419200"/>
            <a:ext cx="5634000" cy="972000"/>
          </a:xfrm>
        </p:spPr>
        <p:txBody>
          <a:bodyPr tIns="72000"/>
          <a:lstStyle>
            <a:lvl1pPr marL="0" indent="0"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Grafik 10">
            <a:extLst>
              <a:ext uri="{FF2B5EF4-FFF2-40B4-BE49-F238E27FC236}">
                <a16:creationId xmlns:a16="http://schemas.microsoft.com/office/drawing/2014/main" id="{BA20CB27-0813-0E71-A6A9-F50F88640E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5000" b="0" kern="1200" spc="-500" baseline="0">
                <a:solidFill>
                  <a:schemeClr val="accent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5E4A31-4072-9922-D0F5-241C14B1A27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D7E3-B707-E68D-52EF-D4243EB0ECE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Online Image Placeholder 9">
            <a:extLst>
              <a:ext uri="{FF2B5EF4-FFF2-40B4-BE49-F238E27FC236}">
                <a16:creationId xmlns:a16="http://schemas.microsoft.com/office/drawing/2014/main" id="{A2F85F0E-6716-6BB7-327E-848037ACEF74}"/>
              </a:ext>
            </a:extLst>
          </p:cNvPr>
          <p:cNvSpPr>
            <a:spLocks noGrp="1" noChangeAspect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Online Image Placeholder 9">
            <a:extLst>
              <a:ext uri="{FF2B5EF4-FFF2-40B4-BE49-F238E27FC236}">
                <a16:creationId xmlns:a16="http://schemas.microsoft.com/office/drawing/2014/main" id="{2C4BC777-9D4E-C7CA-3A3A-715BA4AE1BB3}"/>
              </a:ext>
            </a:extLst>
          </p:cNvPr>
          <p:cNvSpPr>
            <a:spLocks noGrp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4042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04">
          <p15:clr>
            <a:srgbClr val="FFC000"/>
          </p15:clr>
        </p15:guide>
        <p15:guide id="2" orient="horz" pos="1521">
          <p15:clr>
            <a:srgbClr val="FFC000"/>
          </p15:clr>
        </p15:guide>
        <p15:guide id="3" orient="horz" pos="1347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200" y="1227600"/>
            <a:ext cx="5634000" cy="846000"/>
          </a:xfrm>
        </p:spPr>
        <p:txBody>
          <a:bodyPr anchor="b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EC3744-8767-F352-6BF4-168B27406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63393" y="2419200"/>
            <a:ext cx="5634000" cy="972000"/>
          </a:xfrm>
        </p:spPr>
        <p:txBody>
          <a:bodyPr tIns="72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buNone/>
              <a:defRPr sz="1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5000" b="0" kern="1200" spc="-500" baseline="0">
                <a:solidFill>
                  <a:schemeClr val="bg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5" name="Online Image Placeholder 9">
            <a:extLst>
              <a:ext uri="{FF2B5EF4-FFF2-40B4-BE49-F238E27FC236}">
                <a16:creationId xmlns:a16="http://schemas.microsoft.com/office/drawing/2014/main" id="{478C4D49-CEE0-F698-6BA8-FA0FCE38B3F9}"/>
              </a:ext>
            </a:extLst>
          </p:cNvPr>
          <p:cNvSpPr>
            <a:spLocks noGrp="1" noChangeAspect="1"/>
          </p:cNvSpPr>
          <p:nvPr>
            <p:ph type="clipArt" sz="quarter" idx="21" hasCustomPrompt="1"/>
          </p:nvPr>
        </p:nvSpPr>
        <p:spPr>
          <a:xfrm>
            <a:off x="288000" y="2228400"/>
            <a:ext cx="3679200" cy="25400"/>
          </a:xfrm>
          <a:solidFill>
            <a:srgbClr val="25421C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7" name="Online Image Placeholder 9">
            <a:extLst>
              <a:ext uri="{FF2B5EF4-FFF2-40B4-BE49-F238E27FC236}">
                <a16:creationId xmlns:a16="http://schemas.microsoft.com/office/drawing/2014/main" id="{A376B192-2A46-822B-5534-30CCE0DDCD9F}"/>
              </a:ext>
            </a:extLst>
          </p:cNvPr>
          <p:cNvSpPr>
            <a:spLocks noGrp="1"/>
          </p:cNvSpPr>
          <p:nvPr>
            <p:ph type="clipArt" sz="quarter" idx="22" hasCustomPrompt="1"/>
          </p:nvPr>
        </p:nvSpPr>
        <p:spPr>
          <a:xfrm>
            <a:off x="10751366" y="2228400"/>
            <a:ext cx="1440634" cy="25200"/>
          </a:xfrm>
          <a:solidFill>
            <a:srgbClr val="25421C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C732ECB-9388-8CA1-EB01-6E87A925AB1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265200" y="6450420"/>
            <a:ext cx="66564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FEBCB2A-7E50-4B55-C1F3-33448BAC5B2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0876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1">
          <p15:clr>
            <a:srgbClr val="FFC000"/>
          </p15:clr>
        </p15:guide>
        <p15:guide id="2" orient="horz" pos="1347">
          <p15:clr>
            <a:srgbClr val="FFC000"/>
          </p15:clr>
        </p15:guide>
        <p15:guide id="3" pos="1704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, Picture large">
    <p:bg>
      <p:bgPr>
        <a:solidFill>
          <a:srgbClr val="2542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>
            <a:extLst>
              <a:ext uri="{FF2B5EF4-FFF2-40B4-BE49-F238E27FC236}">
                <a16:creationId xmlns:a16="http://schemas.microsoft.com/office/drawing/2014/main" id="{DCEA1B8A-ACF1-3919-0C08-7E71980EBE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1376363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CF035E-3E24-71F2-ECCF-0FC3A9F69A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EFAE0E-A49B-4091-85D7-B91D0281AE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E0787F05-BFE0-BCD8-3023-E6D2DDA482BC}"/>
              </a:ext>
            </a:extLst>
          </p:cNvPr>
          <p:cNvSpPr>
            <a:spLocks noGrp="1" noChangeAspect="1"/>
          </p:cNvSpPr>
          <p:nvPr>
            <p:ph type="clipArt" sz="quarter" idx="20" hasCustomPrompt="1"/>
          </p:nvPr>
        </p:nvSpPr>
        <p:spPr>
          <a:xfrm>
            <a:off x="288000" y="10368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A7429042-57AB-06D1-342B-2011144DE143}"/>
              </a:ext>
            </a:extLst>
          </p:cNvPr>
          <p:cNvSpPr>
            <a:spLocks noGrp="1"/>
          </p:cNvSpPr>
          <p:nvPr>
            <p:ph type="clipArt" sz="quarter" idx="21" hasCustomPrompt="1"/>
          </p:nvPr>
        </p:nvSpPr>
        <p:spPr>
          <a:xfrm>
            <a:off x="10751366" y="10368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879761B-5C15-26D3-4E48-C9A8F18D168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70" y="1928174"/>
            <a:ext cx="2400300" cy="3060000"/>
          </a:xfrm>
        </p:spPr>
        <p:txBody>
          <a:bodyPr tIns="378000"/>
          <a:lstStyle>
            <a:lvl1pPr>
              <a:defRPr b="0"/>
            </a:lvl1pPr>
            <a:lvl2pPr>
              <a:spcAft>
                <a:spcPts val="1600"/>
              </a:spcAft>
              <a:defRPr/>
            </a:lvl2pPr>
            <a:lvl3pPr marL="0" indent="0">
              <a:buNone/>
              <a:defRPr/>
            </a:lvl3pPr>
            <a:lvl4pPr marL="270000" indent="-270000">
              <a:spcAft>
                <a:spcPts val="1600"/>
              </a:spcAft>
              <a:buFont typeface="Symbol" panose="05050102010706020507" pitchFamily="18" charset="2"/>
              <a:buChar char="-"/>
              <a:defRPr sz="1400" b="0"/>
            </a:lvl4pPr>
            <a:lvl5pPr marL="0" indent="0" algn="l">
              <a:spcAft>
                <a:spcPts val="600"/>
              </a:spcAft>
              <a:buNone/>
              <a:defRPr sz="1400" b="0"/>
            </a:lvl5pPr>
            <a:lvl6pPr marL="270000" indent="-270000" algn="l">
              <a:spcAft>
                <a:spcPts val="1600"/>
              </a:spcAft>
              <a:buFont typeface="Symbol" panose="05050102010706020507" pitchFamily="18" charset="2"/>
              <a:buChar char="-"/>
              <a:defRPr sz="1400" b="0"/>
            </a:lvl6pPr>
            <a:lvl7pPr marL="0" indent="0" algn="l">
              <a:lnSpc>
                <a:spcPct val="100000"/>
              </a:lnSpc>
              <a:spcAft>
                <a:spcPts val="600"/>
              </a:spcAft>
              <a:buNone/>
              <a:defRPr sz="1400" b="0"/>
            </a:lvl7pPr>
            <a:lvl8pPr marL="270000" indent="-270000" algn="l">
              <a:lnSpc>
                <a:spcPct val="100000"/>
              </a:lnSpc>
              <a:spcAft>
                <a:spcPts val="1600"/>
              </a:spcAft>
              <a:buFont typeface="Symbol" panose="05050102010706020507" pitchFamily="18" charset="2"/>
              <a:buChar char="-"/>
              <a:defRPr sz="1400"/>
            </a:lvl8pPr>
            <a:lvl9pPr>
              <a:lnSpc>
                <a:spcPct val="100000"/>
              </a:lnSpc>
              <a:spcAft>
                <a:spcPts val="6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45286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1696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ight">
    <p:bg>
      <p:bgPr>
        <a:solidFill>
          <a:srgbClr val="2542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BED2D7BF-9930-126A-5935-B520619010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810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ight, Lin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rgbClr val="2542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3" name="Grafik 10">
            <a:extLst>
              <a:ext uri="{FF2B5EF4-FFF2-40B4-BE49-F238E27FC236}">
                <a16:creationId xmlns:a16="http://schemas.microsoft.com/office/drawing/2014/main" id="{FC9AD835-EDF7-941C-5AC5-D89F9EE7FA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8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light, Lin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51198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rk, Lin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7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7C8480-EFC8-037D-4492-0D1A3CE0AEF3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rgbClr val="2542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A0B6A31-3801-382C-595A-81D616D6F0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64D8672-5055-FE0F-0F41-09B11E1D86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503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pos="4981">
          <p15:clr>
            <a:srgbClr val="FFC000"/>
          </p15:clr>
        </p15:guide>
        <p15:guide id="3" orient="horz" pos="3957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, Picture">
    <p:bg>
      <p:bgPr>
        <a:solidFill>
          <a:srgbClr val="2542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10">
            <a:extLst>
              <a:ext uri="{FF2B5EF4-FFF2-40B4-BE49-F238E27FC236}">
                <a16:creationId xmlns:a16="http://schemas.microsoft.com/office/drawing/2014/main" id="{7FA45EF1-65E8-7C9F-0BDF-ED75C2AABE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50904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8000" y="1379538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3018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393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Background Grey 95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51123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dark, Lin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7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7C8480-EFC8-037D-4492-0D1A3CE0AEF3}"/>
              </a:ext>
            </a:extLst>
          </p:cNvPr>
          <p:cNvSpPr/>
          <p:nvPr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rgbClr val="003C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A0B6A31-3801-382C-595A-81D616D6F0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64D8672-5055-FE0F-0F41-09B11E1D86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989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pos="4981">
          <p15:clr>
            <a:srgbClr val="FFC000"/>
          </p15:clr>
        </p15:guide>
        <p15:guide id="3" orient="horz" pos="3957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Blue 25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75BCEC29-2BC5-3234-39D0-FC2D17F5E4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833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DCBA62C2-C7B7-87CF-008A-31AD89387C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204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dark">
    <p:bg>
      <p:bgPr>
        <a:solidFill>
          <a:srgbClr val="2542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505444E4-6B96-E182-C5E3-766A53CD51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776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3393">
          <p15:clr>
            <a:srgbClr val="FFC000"/>
          </p15:clr>
        </p15:guide>
        <p15:guide id="6" pos="7500">
          <p15:clr>
            <a:srgbClr val="FFC000"/>
          </p15:clr>
        </p15:guide>
        <p15:guide id="7" pos="181">
          <p15:clr>
            <a:srgbClr val="FFC000"/>
          </p15:clr>
        </p15:guide>
        <p15:guide id="8" orient="horz" pos="4142">
          <p15:clr>
            <a:srgbClr val="FFC000"/>
          </p15:clr>
        </p15:guide>
        <p15:guide id="9" orient="horz" pos="169">
          <p15:clr>
            <a:srgbClr val="FFC00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A56E249-7AEA-83D1-24C6-550B472E2D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8" y="1378800"/>
            <a:ext cx="11615737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0F317-4110-93B3-B9DE-2463263AF9C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73C78F-543D-0FE5-AC6D-97A58D2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A1648-417E-59AD-2CA3-D844E7D053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9803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6672" y="1378800"/>
            <a:ext cx="56700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6700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85B91D-4685-5F58-F0CF-68DFC8CADE2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B309E67-4CCB-C781-B73D-ABA1E30E8E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49855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pos="7500">
          <p15:clr>
            <a:srgbClr val="FFC000"/>
          </p15:clr>
        </p15:guide>
        <p15:guide id="4" pos="3912">
          <p15:clr>
            <a:srgbClr val="FFC000"/>
          </p15:clr>
        </p15:guide>
        <p15:guide id="5" pos="3767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39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F0F0774-A736-B58B-3457-888B317F237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00E0E6CC-1586-9C98-0538-5FE2A981A4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3684588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93B3071F-F438-DCFD-E005-F4E2F754048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16674" y="1378800"/>
            <a:ext cx="3686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9410BB89-0101-18E6-2EF2-6C91E8F158F7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260850" y="1378800"/>
            <a:ext cx="3686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F467332-8CFF-A83D-77AC-88AA3D45B7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350C5DF-5065-DC79-B6C0-C48D4B2C6C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17641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5158">
          <p15:clr>
            <a:srgbClr val="FFC000"/>
          </p15:clr>
        </p15:guide>
        <p15:guide id="4" pos="5015">
          <p15:clr>
            <a:srgbClr val="FFC000"/>
          </p15:clr>
        </p15:guide>
        <p15:guide id="5" pos="2677">
          <p15:clr>
            <a:srgbClr val="FFC000"/>
          </p15:clr>
        </p15:guide>
        <p15:guide id="6" pos="250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178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60CD936A-5C06-33D9-1B52-E475F551E9A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352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A3DA6D5A-A339-4B79-2219-AE17A229061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269938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06297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99">
          <p15:clr>
            <a:srgbClr val="FFC000"/>
          </p15:clr>
        </p15:guide>
        <p15:guide id="2" pos="5617">
          <p15:clr>
            <a:srgbClr val="FFC000"/>
          </p15:clr>
        </p15:guide>
        <p15:guide id="3" pos="3912">
          <p15:clr>
            <a:srgbClr val="FFC000"/>
          </p15:clr>
        </p15:guide>
        <p15:guide id="4" pos="3754">
          <p15:clr>
            <a:srgbClr val="FFC000"/>
          </p15:clr>
        </p15:guide>
        <p15:guide id="5" pos="2055">
          <p15:clr>
            <a:srgbClr val="FFC000"/>
          </p15:clr>
        </p15:guide>
        <p15:guide id="6" pos="1873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orient="horz" pos="3958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3: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CA56C73-8105-7A0C-158A-DF385A8EB7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216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7999" y="1378800"/>
            <a:ext cx="863692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707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99">
          <p15:clr>
            <a:srgbClr val="FFC000"/>
          </p15:clr>
        </p15:guide>
        <p15:guide id="2" pos="5625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1: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CA56C73-8105-7A0C-158A-DF385A8EB7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8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66149" y="1378800"/>
            <a:ext cx="863692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6189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2055">
          <p15:clr>
            <a:srgbClr val="FFC000"/>
          </p15:clr>
        </p15:guide>
        <p15:guide id="4" pos="1873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2: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96E45D8-91E9-6F65-A257-0C6C537876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1732" y="1379538"/>
            <a:ext cx="5670418" cy="4903787"/>
          </a:xfrm>
          <a:custGeom>
            <a:avLst/>
            <a:gdLst>
              <a:gd name="connsiteX0" fmla="*/ 274367 w 5670418"/>
              <a:gd name="connsiteY0" fmla="*/ 0 h 4903787"/>
              <a:gd name="connsiteX1" fmla="*/ 5396975 w 5670418"/>
              <a:gd name="connsiteY1" fmla="*/ 0 h 4903787"/>
              <a:gd name="connsiteX2" fmla="*/ 5665768 w 5670418"/>
              <a:gd name="connsiteY2" fmla="*/ 219073 h 4903787"/>
              <a:gd name="connsiteX3" fmla="*/ 5670418 w 5670418"/>
              <a:gd name="connsiteY3" fmla="*/ 265202 h 4903787"/>
              <a:gd name="connsiteX4" fmla="*/ 5670418 w 5670418"/>
              <a:gd name="connsiteY4" fmla="*/ 4638586 h 4903787"/>
              <a:gd name="connsiteX5" fmla="*/ 5665768 w 5670418"/>
              <a:gd name="connsiteY5" fmla="*/ 4684715 h 4903787"/>
              <a:gd name="connsiteX6" fmla="*/ 5396975 w 5670418"/>
              <a:gd name="connsiteY6" fmla="*/ 4903787 h 4903787"/>
              <a:gd name="connsiteX7" fmla="*/ 274367 w 5670418"/>
              <a:gd name="connsiteY7" fmla="*/ 4903787 h 4903787"/>
              <a:gd name="connsiteX8" fmla="*/ 0 w 5670418"/>
              <a:gd name="connsiteY8" fmla="*/ 4629420 h 4903787"/>
              <a:gd name="connsiteX9" fmla="*/ 0 w 5670418"/>
              <a:gd name="connsiteY9" fmla="*/ 274367 h 4903787"/>
              <a:gd name="connsiteX10" fmla="*/ 274367 w 5670418"/>
              <a:gd name="connsiteY10" fmla="*/ 0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70418" h="4903787">
                <a:moveTo>
                  <a:pt x="274367" y="0"/>
                </a:moveTo>
                <a:lnTo>
                  <a:pt x="5396975" y="0"/>
                </a:lnTo>
                <a:cubicBezTo>
                  <a:pt x="5529563" y="0"/>
                  <a:pt x="5640184" y="94048"/>
                  <a:pt x="5665768" y="219073"/>
                </a:cubicBezTo>
                <a:lnTo>
                  <a:pt x="5670418" y="265202"/>
                </a:lnTo>
                <a:lnTo>
                  <a:pt x="5670418" y="4638586"/>
                </a:lnTo>
                <a:lnTo>
                  <a:pt x="5665768" y="4684715"/>
                </a:lnTo>
                <a:cubicBezTo>
                  <a:pt x="5640184" y="4809739"/>
                  <a:pt x="5529563" y="4903787"/>
                  <a:pt x="5396975" y="4903787"/>
                </a:cubicBezTo>
                <a:lnTo>
                  <a:pt x="274367" y="4903787"/>
                </a:lnTo>
                <a:cubicBezTo>
                  <a:pt x="122838" y="4903787"/>
                  <a:pt x="0" y="4780949"/>
                  <a:pt x="0" y="4629420"/>
                </a:cubicBezTo>
                <a:lnTo>
                  <a:pt x="0" y="274367"/>
                </a:lnTo>
                <a:cubicBezTo>
                  <a:pt x="0" y="122838"/>
                  <a:pt x="122838" y="0"/>
                  <a:pt x="27436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000" y="1378800"/>
            <a:ext cx="567147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946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915">
          <p15:clr>
            <a:srgbClr val="FFC000"/>
          </p15:clr>
        </p15:guide>
        <p15:guide id="4" pos="376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, Picture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10">
            <a:extLst>
              <a:ext uri="{FF2B5EF4-FFF2-40B4-BE49-F238E27FC236}">
                <a16:creationId xmlns:a16="http://schemas.microsoft.com/office/drawing/2014/main" id="{7FA45EF1-65E8-7C9F-0BDF-ED75C2AABE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/>
        </p:nvSpPr>
        <p:spPr>
          <a:xfrm>
            <a:off x="287338" y="1036800"/>
            <a:ext cx="50904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8000" y="1379538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441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393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2: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96E45D8-91E9-6F65-A257-0C6C537876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8000" y="1379538"/>
            <a:ext cx="5670418" cy="4903787"/>
          </a:xfrm>
          <a:custGeom>
            <a:avLst/>
            <a:gdLst>
              <a:gd name="connsiteX0" fmla="*/ 274367 w 5670418"/>
              <a:gd name="connsiteY0" fmla="*/ 0 h 4903787"/>
              <a:gd name="connsiteX1" fmla="*/ 5396975 w 5670418"/>
              <a:gd name="connsiteY1" fmla="*/ 0 h 4903787"/>
              <a:gd name="connsiteX2" fmla="*/ 5665768 w 5670418"/>
              <a:gd name="connsiteY2" fmla="*/ 219073 h 4903787"/>
              <a:gd name="connsiteX3" fmla="*/ 5670418 w 5670418"/>
              <a:gd name="connsiteY3" fmla="*/ 265202 h 4903787"/>
              <a:gd name="connsiteX4" fmla="*/ 5670418 w 5670418"/>
              <a:gd name="connsiteY4" fmla="*/ 4638586 h 4903787"/>
              <a:gd name="connsiteX5" fmla="*/ 5665768 w 5670418"/>
              <a:gd name="connsiteY5" fmla="*/ 4684715 h 4903787"/>
              <a:gd name="connsiteX6" fmla="*/ 5396975 w 5670418"/>
              <a:gd name="connsiteY6" fmla="*/ 4903787 h 4903787"/>
              <a:gd name="connsiteX7" fmla="*/ 274367 w 5670418"/>
              <a:gd name="connsiteY7" fmla="*/ 4903787 h 4903787"/>
              <a:gd name="connsiteX8" fmla="*/ 0 w 5670418"/>
              <a:gd name="connsiteY8" fmla="*/ 4629420 h 4903787"/>
              <a:gd name="connsiteX9" fmla="*/ 0 w 5670418"/>
              <a:gd name="connsiteY9" fmla="*/ 274367 h 4903787"/>
              <a:gd name="connsiteX10" fmla="*/ 274367 w 5670418"/>
              <a:gd name="connsiteY10" fmla="*/ 0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70418" h="4903787">
                <a:moveTo>
                  <a:pt x="274367" y="0"/>
                </a:moveTo>
                <a:lnTo>
                  <a:pt x="5396975" y="0"/>
                </a:lnTo>
                <a:cubicBezTo>
                  <a:pt x="5529563" y="0"/>
                  <a:pt x="5640184" y="94048"/>
                  <a:pt x="5665768" y="219073"/>
                </a:cubicBezTo>
                <a:lnTo>
                  <a:pt x="5670418" y="265202"/>
                </a:lnTo>
                <a:lnTo>
                  <a:pt x="5670418" y="4638586"/>
                </a:lnTo>
                <a:lnTo>
                  <a:pt x="5665768" y="4684715"/>
                </a:lnTo>
                <a:cubicBezTo>
                  <a:pt x="5640184" y="4809739"/>
                  <a:pt x="5529563" y="4903787"/>
                  <a:pt x="5396975" y="4903787"/>
                </a:cubicBezTo>
                <a:lnTo>
                  <a:pt x="274367" y="4903787"/>
                </a:lnTo>
                <a:cubicBezTo>
                  <a:pt x="122838" y="4903787"/>
                  <a:pt x="0" y="4780949"/>
                  <a:pt x="0" y="4629420"/>
                </a:cubicBezTo>
                <a:lnTo>
                  <a:pt x="0" y="274367"/>
                </a:lnTo>
                <a:cubicBezTo>
                  <a:pt x="0" y="122838"/>
                  <a:pt x="122838" y="0"/>
                  <a:pt x="27436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31600" y="1378800"/>
            <a:ext cx="567147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9683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915">
          <p15:clr>
            <a:srgbClr val="FFC000"/>
          </p15:clr>
        </p15:guide>
        <p15:guide id="4" pos="376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1: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0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9C72D0-9C75-B7FA-B88A-327B8440D37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65200" y="1379538"/>
            <a:ext cx="8637587" cy="4903049"/>
          </a:xfrm>
          <a:custGeom>
            <a:avLst/>
            <a:gdLst>
              <a:gd name="connsiteX0" fmla="*/ 267045 w 8637587"/>
              <a:gd name="connsiteY0" fmla="*/ 0 h 4903049"/>
              <a:gd name="connsiteX1" fmla="*/ 8370541 w 8637587"/>
              <a:gd name="connsiteY1" fmla="*/ 0 h 4903049"/>
              <a:gd name="connsiteX2" fmla="*/ 8418515 w 8637587"/>
              <a:gd name="connsiteY2" fmla="*/ 4836 h 4903049"/>
              <a:gd name="connsiteX3" fmla="*/ 8637587 w 8637587"/>
              <a:gd name="connsiteY3" fmla="*/ 273629 h 4903049"/>
              <a:gd name="connsiteX4" fmla="*/ 8637587 w 8637587"/>
              <a:gd name="connsiteY4" fmla="*/ 4628682 h 4903049"/>
              <a:gd name="connsiteX5" fmla="*/ 8363220 w 8637587"/>
              <a:gd name="connsiteY5" fmla="*/ 4903049 h 4903049"/>
              <a:gd name="connsiteX6" fmla="*/ 5396974 w 8637587"/>
              <a:gd name="connsiteY6" fmla="*/ 4903049 h 4903049"/>
              <a:gd name="connsiteX7" fmla="*/ 3240612 w 8637587"/>
              <a:gd name="connsiteY7" fmla="*/ 4903049 h 4903049"/>
              <a:gd name="connsiteX8" fmla="*/ 274366 w 8637587"/>
              <a:gd name="connsiteY8" fmla="*/ 4903049 h 4903049"/>
              <a:gd name="connsiteX9" fmla="*/ 21560 w 8637587"/>
              <a:gd name="connsiteY9" fmla="*/ 4735478 h 4903049"/>
              <a:gd name="connsiteX10" fmla="*/ 0 w 8637587"/>
              <a:gd name="connsiteY10" fmla="*/ 4628687 h 4903049"/>
              <a:gd name="connsiteX11" fmla="*/ 0 w 8637587"/>
              <a:gd name="connsiteY11" fmla="*/ 273625 h 4903049"/>
              <a:gd name="connsiteX12" fmla="*/ 21560 w 8637587"/>
              <a:gd name="connsiteY12" fmla="*/ 166833 h 4903049"/>
              <a:gd name="connsiteX13" fmla="*/ 219071 w 8637587"/>
              <a:gd name="connsiteY13" fmla="*/ 4836 h 490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37587" h="4903049">
                <a:moveTo>
                  <a:pt x="267045" y="0"/>
                </a:moveTo>
                <a:lnTo>
                  <a:pt x="8370541" y="0"/>
                </a:lnTo>
                <a:lnTo>
                  <a:pt x="8418515" y="4836"/>
                </a:lnTo>
                <a:cubicBezTo>
                  <a:pt x="8543539" y="30420"/>
                  <a:pt x="8637587" y="141041"/>
                  <a:pt x="8637587" y="273629"/>
                </a:cubicBezTo>
                <a:lnTo>
                  <a:pt x="8637587" y="4628682"/>
                </a:lnTo>
                <a:cubicBezTo>
                  <a:pt x="8637587" y="4780211"/>
                  <a:pt x="8514749" y="4903049"/>
                  <a:pt x="8363220" y="4903049"/>
                </a:cubicBezTo>
                <a:lnTo>
                  <a:pt x="5396974" y="4903049"/>
                </a:lnTo>
                <a:lnTo>
                  <a:pt x="3240612" y="4903049"/>
                </a:lnTo>
                <a:lnTo>
                  <a:pt x="274366" y="4903049"/>
                </a:lnTo>
                <a:cubicBezTo>
                  <a:pt x="160719" y="4903049"/>
                  <a:pt x="63211" y="4833953"/>
                  <a:pt x="21560" y="4735478"/>
                </a:cubicBezTo>
                <a:lnTo>
                  <a:pt x="0" y="4628687"/>
                </a:lnTo>
                <a:lnTo>
                  <a:pt x="0" y="273625"/>
                </a:lnTo>
                <a:lnTo>
                  <a:pt x="21560" y="166833"/>
                </a:lnTo>
                <a:cubicBezTo>
                  <a:pt x="56270" y="84771"/>
                  <a:pt x="129768" y="23110"/>
                  <a:pt x="219071" y="483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38470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2055">
          <p15:clr>
            <a:srgbClr val="FFC000"/>
          </p15:clr>
        </p15:guide>
        <p15:guide id="4" pos="1873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3: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196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EE23C52-6DAD-95DC-ED98-591B9334BBE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7338" y="1379538"/>
            <a:ext cx="8637587" cy="4903049"/>
          </a:xfrm>
          <a:custGeom>
            <a:avLst/>
            <a:gdLst>
              <a:gd name="connsiteX0" fmla="*/ 267045 w 8637587"/>
              <a:gd name="connsiteY0" fmla="*/ 0 h 4903049"/>
              <a:gd name="connsiteX1" fmla="*/ 8370541 w 8637587"/>
              <a:gd name="connsiteY1" fmla="*/ 0 h 4903049"/>
              <a:gd name="connsiteX2" fmla="*/ 8418515 w 8637587"/>
              <a:gd name="connsiteY2" fmla="*/ 4836 h 4903049"/>
              <a:gd name="connsiteX3" fmla="*/ 8637587 w 8637587"/>
              <a:gd name="connsiteY3" fmla="*/ 273629 h 4903049"/>
              <a:gd name="connsiteX4" fmla="*/ 8637587 w 8637587"/>
              <a:gd name="connsiteY4" fmla="*/ 4628682 h 4903049"/>
              <a:gd name="connsiteX5" fmla="*/ 8363220 w 8637587"/>
              <a:gd name="connsiteY5" fmla="*/ 4903049 h 4903049"/>
              <a:gd name="connsiteX6" fmla="*/ 5396974 w 8637587"/>
              <a:gd name="connsiteY6" fmla="*/ 4903049 h 4903049"/>
              <a:gd name="connsiteX7" fmla="*/ 3240612 w 8637587"/>
              <a:gd name="connsiteY7" fmla="*/ 4903049 h 4903049"/>
              <a:gd name="connsiteX8" fmla="*/ 274366 w 8637587"/>
              <a:gd name="connsiteY8" fmla="*/ 4903049 h 4903049"/>
              <a:gd name="connsiteX9" fmla="*/ 21560 w 8637587"/>
              <a:gd name="connsiteY9" fmla="*/ 4735478 h 4903049"/>
              <a:gd name="connsiteX10" fmla="*/ 0 w 8637587"/>
              <a:gd name="connsiteY10" fmla="*/ 4628687 h 4903049"/>
              <a:gd name="connsiteX11" fmla="*/ 0 w 8637587"/>
              <a:gd name="connsiteY11" fmla="*/ 273625 h 4903049"/>
              <a:gd name="connsiteX12" fmla="*/ 21560 w 8637587"/>
              <a:gd name="connsiteY12" fmla="*/ 166833 h 4903049"/>
              <a:gd name="connsiteX13" fmla="*/ 219071 w 8637587"/>
              <a:gd name="connsiteY13" fmla="*/ 4836 h 490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37587" h="4903049">
                <a:moveTo>
                  <a:pt x="267045" y="0"/>
                </a:moveTo>
                <a:lnTo>
                  <a:pt x="8370541" y="0"/>
                </a:lnTo>
                <a:lnTo>
                  <a:pt x="8418515" y="4836"/>
                </a:lnTo>
                <a:cubicBezTo>
                  <a:pt x="8543539" y="30420"/>
                  <a:pt x="8637587" y="141041"/>
                  <a:pt x="8637587" y="273629"/>
                </a:cubicBezTo>
                <a:lnTo>
                  <a:pt x="8637587" y="4628682"/>
                </a:lnTo>
                <a:cubicBezTo>
                  <a:pt x="8637587" y="4780211"/>
                  <a:pt x="8514749" y="4903049"/>
                  <a:pt x="8363220" y="4903049"/>
                </a:cubicBezTo>
                <a:lnTo>
                  <a:pt x="5396974" y="4903049"/>
                </a:lnTo>
                <a:lnTo>
                  <a:pt x="3240612" y="4903049"/>
                </a:lnTo>
                <a:lnTo>
                  <a:pt x="274366" y="4903049"/>
                </a:lnTo>
                <a:cubicBezTo>
                  <a:pt x="160719" y="4903049"/>
                  <a:pt x="63211" y="4833953"/>
                  <a:pt x="21560" y="4735478"/>
                </a:cubicBezTo>
                <a:lnTo>
                  <a:pt x="0" y="4628687"/>
                </a:lnTo>
                <a:lnTo>
                  <a:pt x="0" y="273625"/>
                </a:lnTo>
                <a:lnTo>
                  <a:pt x="21560" y="166833"/>
                </a:lnTo>
                <a:cubicBezTo>
                  <a:pt x="56270" y="84771"/>
                  <a:pt x="129768" y="23110"/>
                  <a:pt x="219071" y="483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723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08">
          <p15:clr>
            <a:srgbClr val="FFC000"/>
          </p15:clr>
        </p15:guide>
        <p15:guide id="2" pos="5627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full widt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4F0F322-EA25-ACAE-609C-DC51DE7031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7" y="1378800"/>
            <a:ext cx="11615736" cy="4903787"/>
          </a:xfrm>
          <a:custGeom>
            <a:avLst/>
            <a:gdLst>
              <a:gd name="connsiteX0" fmla="*/ 3245194 w 11615736"/>
              <a:gd name="connsiteY0" fmla="*/ 0 h 4903787"/>
              <a:gd name="connsiteX1" fmla="*/ 11348690 w 11615736"/>
              <a:gd name="connsiteY1" fmla="*/ 0 h 4903787"/>
              <a:gd name="connsiteX2" fmla="*/ 11396664 w 11615736"/>
              <a:gd name="connsiteY2" fmla="*/ 4836 h 4903787"/>
              <a:gd name="connsiteX3" fmla="*/ 11615736 w 11615736"/>
              <a:gd name="connsiteY3" fmla="*/ 273629 h 4903787"/>
              <a:gd name="connsiteX4" fmla="*/ 11615736 w 11615736"/>
              <a:gd name="connsiteY4" fmla="*/ 4628682 h 4903787"/>
              <a:gd name="connsiteX5" fmla="*/ 11341369 w 11615736"/>
              <a:gd name="connsiteY5" fmla="*/ 4903049 h 4903787"/>
              <a:gd name="connsiteX6" fmla="*/ 8375123 w 11615736"/>
              <a:gd name="connsiteY6" fmla="*/ 4903049 h 4903787"/>
              <a:gd name="connsiteX7" fmla="*/ 8370541 w 11615736"/>
              <a:gd name="connsiteY7" fmla="*/ 4903049 h 4903787"/>
              <a:gd name="connsiteX8" fmla="*/ 8363220 w 11615736"/>
              <a:gd name="connsiteY8" fmla="*/ 4903787 h 4903787"/>
              <a:gd name="connsiteX9" fmla="*/ 5396974 w 11615736"/>
              <a:gd name="connsiteY9" fmla="*/ 4903787 h 4903787"/>
              <a:gd name="connsiteX10" fmla="*/ 3240612 w 11615736"/>
              <a:gd name="connsiteY10" fmla="*/ 4903787 h 4903787"/>
              <a:gd name="connsiteX11" fmla="*/ 274366 w 11615736"/>
              <a:gd name="connsiteY11" fmla="*/ 4903787 h 4903787"/>
              <a:gd name="connsiteX12" fmla="*/ 21560 w 11615736"/>
              <a:gd name="connsiteY12" fmla="*/ 4736216 h 4903787"/>
              <a:gd name="connsiteX13" fmla="*/ 0 w 11615736"/>
              <a:gd name="connsiteY13" fmla="*/ 4629425 h 4903787"/>
              <a:gd name="connsiteX14" fmla="*/ 0 w 11615736"/>
              <a:gd name="connsiteY14" fmla="*/ 274363 h 4903787"/>
              <a:gd name="connsiteX15" fmla="*/ 21560 w 11615736"/>
              <a:gd name="connsiteY15" fmla="*/ 167571 h 4903787"/>
              <a:gd name="connsiteX16" fmla="*/ 219071 w 11615736"/>
              <a:gd name="connsiteY16" fmla="*/ 5574 h 4903787"/>
              <a:gd name="connsiteX17" fmla="*/ 267045 w 11615736"/>
              <a:gd name="connsiteY17" fmla="*/ 738 h 4903787"/>
              <a:gd name="connsiteX18" fmla="*/ 3237874 w 11615736"/>
              <a:gd name="connsiteY18" fmla="*/ 738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615736" h="4903787">
                <a:moveTo>
                  <a:pt x="3245194" y="0"/>
                </a:moveTo>
                <a:lnTo>
                  <a:pt x="11348690" y="0"/>
                </a:lnTo>
                <a:lnTo>
                  <a:pt x="11396664" y="4836"/>
                </a:lnTo>
                <a:cubicBezTo>
                  <a:pt x="11521688" y="30420"/>
                  <a:pt x="11615736" y="141041"/>
                  <a:pt x="11615736" y="273629"/>
                </a:cubicBezTo>
                <a:lnTo>
                  <a:pt x="11615736" y="4628682"/>
                </a:lnTo>
                <a:cubicBezTo>
                  <a:pt x="11615736" y="4780211"/>
                  <a:pt x="11492898" y="4903049"/>
                  <a:pt x="11341369" y="4903049"/>
                </a:cubicBezTo>
                <a:lnTo>
                  <a:pt x="8375123" y="4903049"/>
                </a:lnTo>
                <a:lnTo>
                  <a:pt x="8370541" y="4903049"/>
                </a:lnTo>
                <a:lnTo>
                  <a:pt x="8363220" y="4903787"/>
                </a:lnTo>
                <a:lnTo>
                  <a:pt x="5396974" y="4903787"/>
                </a:lnTo>
                <a:lnTo>
                  <a:pt x="3240612" y="4903787"/>
                </a:lnTo>
                <a:lnTo>
                  <a:pt x="274366" y="4903787"/>
                </a:lnTo>
                <a:cubicBezTo>
                  <a:pt x="160719" y="4903787"/>
                  <a:pt x="63211" y="4834691"/>
                  <a:pt x="21560" y="4736216"/>
                </a:cubicBezTo>
                <a:lnTo>
                  <a:pt x="0" y="4629425"/>
                </a:lnTo>
                <a:lnTo>
                  <a:pt x="0" y="274363"/>
                </a:lnTo>
                <a:lnTo>
                  <a:pt x="21560" y="167571"/>
                </a:lnTo>
                <a:cubicBezTo>
                  <a:pt x="56270" y="85509"/>
                  <a:pt x="129768" y="23848"/>
                  <a:pt x="219071" y="5574"/>
                </a:cubicBezTo>
                <a:lnTo>
                  <a:pt x="267045" y="738"/>
                </a:lnTo>
                <a:lnTo>
                  <a:pt x="3237874" y="7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517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9AFD43-5FF5-07CF-598F-C6154BEE6A9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979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9">
          <p15:clr>
            <a:srgbClr val="FFC000"/>
          </p15:clr>
        </p15:guide>
        <p15:guide id="2" pos="2503">
          <p15:clr>
            <a:srgbClr val="FFC000"/>
          </p15:clr>
        </p15:guide>
        <p15:guide id="3" pos="2071">
          <p15:clr>
            <a:srgbClr val="FFC000"/>
          </p15:clr>
        </p15:guide>
        <p15:guide id="4" pos="1891">
          <p15:clr>
            <a:srgbClr val="FFC000"/>
          </p15:clr>
        </p15:guide>
        <p15:guide id="5" pos="1436">
          <p15:clr>
            <a:srgbClr val="FFC000"/>
          </p15:clr>
        </p15:guide>
        <p15:guide id="6" pos="1255">
          <p15:clr>
            <a:srgbClr val="FFC000"/>
          </p15:clr>
        </p15:guide>
        <p15:guide id="7" pos="804">
          <p15:clr>
            <a:srgbClr val="FFC000"/>
          </p15:clr>
        </p15:guide>
        <p15:guide id="8" pos="620">
          <p15:clr>
            <a:srgbClr val="FFC000"/>
          </p15:clr>
        </p15:guide>
        <p15:guide id="9" pos="181">
          <p15:clr>
            <a:srgbClr val="FFC000"/>
          </p15:clr>
        </p15:guide>
        <p15:guide id="10" pos="2684">
          <p15:clr>
            <a:srgbClr val="FFC000"/>
          </p15:clr>
        </p15:guide>
        <p15:guide id="11" pos="3295">
          <p15:clr>
            <a:srgbClr val="FFC000"/>
          </p15:clr>
        </p15:guide>
        <p15:guide id="12" pos="3113">
          <p15:clr>
            <a:srgbClr val="FFC000"/>
          </p15:clr>
        </p15:guide>
        <p15:guide id="13" pos="3751">
          <p15:clr>
            <a:srgbClr val="FFC000"/>
          </p15:clr>
        </p15:guide>
        <p15:guide id="14" pos="7061">
          <p15:clr>
            <a:srgbClr val="FFC000"/>
          </p15:clr>
        </p15:guide>
        <p15:guide id="15" pos="6901">
          <p15:clr>
            <a:srgbClr val="FFC000"/>
          </p15:clr>
        </p15:guide>
        <p15:guide id="16" pos="6449">
          <p15:clr>
            <a:srgbClr val="FFC000"/>
          </p15:clr>
        </p15:guide>
        <p15:guide id="17" pos="6269">
          <p15:clr>
            <a:srgbClr val="FFC000"/>
          </p15:clr>
        </p15:guide>
        <p15:guide id="18" pos="5816">
          <p15:clr>
            <a:srgbClr val="FFC000"/>
          </p15:clr>
        </p15:guide>
        <p15:guide id="19" pos="5634">
          <p15:clr>
            <a:srgbClr val="FFC000"/>
          </p15:clr>
        </p15:guide>
        <p15:guide id="20" pos="5178">
          <p15:clr>
            <a:srgbClr val="FFC000"/>
          </p15:clr>
        </p15:guide>
        <p15:guide id="21" pos="4998">
          <p15:clr>
            <a:srgbClr val="FFC000"/>
          </p15:clr>
        </p15:guide>
        <p15:guide id="22" pos="4544">
          <p15:clr>
            <a:srgbClr val="FFC000"/>
          </p15:clr>
        </p15:guide>
        <p15:guide id="23" pos="4385">
          <p15:clr>
            <a:srgbClr val="FFC000"/>
          </p15:clr>
        </p15:guide>
        <p15:guide id="24" pos="3931">
          <p15:clr>
            <a:srgbClr val="FFC000"/>
          </p15:clr>
        </p15:guide>
        <p15:guide id="25" orient="horz" pos="4141">
          <p15:clr>
            <a:srgbClr val="FFC000"/>
          </p15:clr>
        </p15:guide>
        <p15:guide id="26" orient="horz" pos="3962">
          <p15:clr>
            <a:srgbClr val="FFC000"/>
          </p15:clr>
        </p15:guide>
        <p15:guide id="27" orient="horz" pos="166">
          <p15:clr>
            <a:srgbClr val="FFC00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BC6E3AB-0636-57B2-4C36-AC798D6B06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0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5A7C009-966B-009A-E119-D98EDBB960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0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FCEF823-670B-2AD2-6E20-55B1F88A48E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688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B4FBDE2-69A3-83BC-90B8-D68A711F9E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352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070E2F6E-F2A4-9A59-115B-08EEEAF78B0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96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93BBFB66-7482-7164-A64A-968F6356FA5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270275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31F66869-8715-1AC4-BB36-53CF23C5B2E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352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C197165B-607C-959F-F199-34120D43467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2196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95157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5806">
          <p15:clr>
            <a:srgbClr val="FFC000"/>
          </p15:clr>
        </p15:guide>
        <p15:guide id="4" pos="5617">
          <p15:clr>
            <a:srgbClr val="FFC000"/>
          </p15:clr>
        </p15:guide>
        <p15:guide id="5" pos="3912">
          <p15:clr>
            <a:srgbClr val="FFC000"/>
          </p15:clr>
        </p15:guide>
        <p15:guide id="6" pos="3754">
          <p15:clr>
            <a:srgbClr val="FFC000"/>
          </p15:clr>
        </p15:guide>
        <p15:guide id="7" pos="2055">
          <p15:clr>
            <a:srgbClr val="FFC000"/>
          </p15:clr>
        </p15:guide>
        <p15:guide id="8" pos="1873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s with Depos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C1E507DF-D53B-3BE4-1A00-07C74C890A5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/>
            </a:lvl1pPr>
            <a:lvl2pPr marL="0" indent="0" algn="ctr">
              <a:spcAft>
                <a:spcPts val="600"/>
              </a:spcAft>
              <a:buNone/>
              <a:defRPr sz="2000" b="1"/>
            </a:lvl2pPr>
            <a:lvl3pPr marL="0" indent="0" algn="ctr">
              <a:spcAft>
                <a:spcPts val="600"/>
              </a:spcAft>
              <a:buNone/>
              <a:defRPr sz="3000" b="0"/>
            </a:lvl3pPr>
            <a:lvl4pPr marL="0" indent="0" algn="ctr">
              <a:spcAft>
                <a:spcPts val="600"/>
              </a:spcAft>
              <a:buNone/>
              <a:defRPr sz="4800"/>
            </a:lvl4pPr>
            <a:lvl5pPr>
              <a:spcAft>
                <a:spcPts val="600"/>
              </a:spcAft>
              <a:defRPr sz="1400"/>
            </a:lvl5pPr>
            <a:lvl6pPr>
              <a:spcAft>
                <a:spcPts val="600"/>
              </a:spcAft>
              <a:defRPr sz="1400"/>
            </a:lvl6pPr>
            <a:lvl7pPr>
              <a:spcAft>
                <a:spcPts val="600"/>
              </a:spcAft>
              <a:defRPr sz="1400"/>
            </a:lvl7pPr>
            <a:lvl8pPr>
              <a:spcAft>
                <a:spcPts val="600"/>
              </a:spcAft>
              <a:defRPr sz="14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81DD2EF-6E62-0069-4582-4CFA7F89136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88000" y="3968525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DAA20D63-B477-B8C1-E93C-EFEB50581D3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231600" y="1378800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B8735F24-7570-5F03-F59D-0B5175E0FC1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688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8EEA74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rgbClr val="25421C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rgbClr val="25421C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rgbClr val="25421C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rgbClr val="25421C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rgbClr val="25421C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rgbClr val="25421C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rgbClr val="25421C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rgbClr val="25421C"/>
                </a:solidFill>
              </a:defRPr>
            </a:lvl8pPr>
            <a:lvl9pPr>
              <a:defRPr>
                <a:solidFill>
                  <a:srgbClr val="25421C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0E93F332-4FA1-F307-866F-643689147FF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216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F1F1F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/>
            </a:lvl1pPr>
            <a:lvl2pPr marL="0" indent="0" algn="ctr">
              <a:spcAft>
                <a:spcPts val="600"/>
              </a:spcAft>
              <a:buNone/>
              <a:defRPr sz="2000" b="1"/>
            </a:lvl2pPr>
            <a:lvl3pPr marL="0" indent="0" algn="ctr">
              <a:spcAft>
                <a:spcPts val="600"/>
              </a:spcAft>
              <a:buNone/>
              <a:defRPr sz="3000" b="0"/>
            </a:lvl3pPr>
            <a:lvl4pPr marL="0" indent="0" algn="ctr">
              <a:spcAft>
                <a:spcPts val="600"/>
              </a:spcAft>
              <a:buNone/>
              <a:defRPr sz="4800"/>
            </a:lvl4pPr>
            <a:lvl5pPr>
              <a:spcAft>
                <a:spcPts val="600"/>
              </a:spcAft>
              <a:defRPr sz="1400"/>
            </a:lvl5pPr>
            <a:lvl6pPr>
              <a:spcAft>
                <a:spcPts val="600"/>
              </a:spcAft>
              <a:defRPr sz="1400"/>
            </a:lvl6pPr>
            <a:lvl7pPr>
              <a:spcAft>
                <a:spcPts val="600"/>
              </a:spcAft>
              <a:defRPr sz="1400"/>
            </a:lvl7pPr>
            <a:lvl8pPr>
              <a:spcAft>
                <a:spcPts val="600"/>
              </a:spcAft>
              <a:defRPr sz="14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70C187E0-20D0-F7FF-79B9-F04FD6912A4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2688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25421C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1BC731CC-642E-FB66-5FD0-1285316114E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2160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83C8507-E210-DECE-2D86-30260E35228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231600" y="3968525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9036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9">
          <p15:clr>
            <a:srgbClr val="FFC000"/>
          </p15:clr>
        </p15:guide>
        <p15:guide id="2" orient="horz" pos="2497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5799">
          <p15:clr>
            <a:srgbClr val="FFC000"/>
          </p15:clr>
        </p15:guide>
        <p15:guide id="6" pos="5617">
          <p15:clr>
            <a:srgbClr val="FFC000"/>
          </p15:clr>
        </p15:guide>
        <p15:guide id="7" pos="3912">
          <p15:clr>
            <a:srgbClr val="FFC000"/>
          </p15:clr>
        </p15:guide>
        <p15:guide id="8" pos="3754">
          <p15:clr>
            <a:srgbClr val="FFC000"/>
          </p15:clr>
        </p15:guide>
        <p15:guide id="9" pos="2055">
          <p15:clr>
            <a:srgbClr val="FFC000"/>
          </p15:clr>
        </p15:guide>
        <p15:guide id="10" pos="1873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different Contents with Depos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87EB98-B074-7A44-75A0-1471BA240A4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88001" y="1379538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9EE9B09-12C0-5733-2DA6-5E041426680E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268800" y="1378800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732F8AC-AEB3-A27F-8C44-736695E49607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231600" y="1378800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A1AC30F5-0F2F-BFF5-D1BA-25A2F146EDF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216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25421C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03FA84C-056A-53BE-456B-CCD449F5A7D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2160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25421C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0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84754BB6-3C5A-A7FC-96F2-0712A88702E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880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E974E1D0-D962-84A4-9F54-83801EF3D47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2688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tx2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tx2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tx2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tx2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tx2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tx2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6BCC89B-09E3-E8EB-D377-C04935A26673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316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54505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9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orient="horz" pos="2497">
          <p15:clr>
            <a:srgbClr val="FFC000"/>
          </p15:clr>
        </p15:guide>
        <p15:guide id="5" pos="5799">
          <p15:clr>
            <a:srgbClr val="FFC000"/>
          </p15:clr>
        </p15:guide>
        <p15:guide id="6" pos="5617">
          <p15:clr>
            <a:srgbClr val="FFC000"/>
          </p15:clr>
        </p15:guide>
        <p15:guide id="7" pos="3912">
          <p15:clr>
            <a:srgbClr val="FFC000"/>
          </p15:clr>
        </p15:guide>
        <p15:guide id="8" pos="3754">
          <p15:clr>
            <a:srgbClr val="FFC000"/>
          </p15:clr>
        </p15:guide>
        <p15:guide id="9" pos="2055">
          <p15:clr>
            <a:srgbClr val="FFC000"/>
          </p15:clr>
        </p15:guide>
        <p15:guide id="10" pos="1873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rge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83528461-6E55-5C10-2CBB-BE461203F371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287335" y="212400"/>
            <a:ext cx="8567739" cy="6073775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B581DD6D-83FF-0267-E76E-43ED8CE245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48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4">
          <p15:clr>
            <a:srgbClr val="FFC000"/>
          </p15:clr>
        </p15:guide>
        <p15:guide id="2" pos="5176">
          <p15:clr>
            <a:srgbClr val="FFC000"/>
          </p15:clr>
        </p15:guide>
        <p15:guide id="3" pos="5585">
          <p15:clr>
            <a:srgbClr val="FFC000"/>
          </p15:clr>
        </p15:guide>
        <p15:guide id="4" orient="horz" pos="3958">
          <p15:clr>
            <a:srgbClr val="FFC000"/>
          </p15:clr>
        </p15:guide>
        <p15:guide id="5" orient="horz" pos="865">
          <p15:clr>
            <a:srgbClr val="FFC000"/>
          </p15:clr>
        </p15:guide>
        <p15:guide id="6" pos="5762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rge dark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83528461-6E55-5C10-2CBB-BE461203F371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287338" y="212400"/>
            <a:ext cx="8568000" cy="6073775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CAC3FDC3-BFBF-F503-C15E-859DD8CB74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  <a:solidFill>
            <a:srgbClr val="25421C"/>
          </a:solidFill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840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4">
          <p15:clr>
            <a:srgbClr val="FFC000"/>
          </p15:clr>
        </p15:guide>
        <p15:guide id="2" pos="5176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5585">
          <p15:clr>
            <a:srgbClr val="FFC000"/>
          </p15:clr>
        </p15:guide>
        <p15:guide id="6" pos="5762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 with Background Grey 95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9919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mall light">
    <p:bg>
      <p:bgPr>
        <a:solidFill>
          <a:srgbClr val="2542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9" name="Table Placeholder 14">
            <a:extLst>
              <a:ext uri="{FF2B5EF4-FFF2-40B4-BE49-F238E27FC236}">
                <a16:creationId xmlns:a16="http://schemas.microsoft.com/office/drawing/2014/main" id="{7BE4ABD4-8A17-D127-FE2B-06483E4EF321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287338" y="212400"/>
            <a:ext cx="5356225" cy="6073775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16741C30-F2D2-5A43-164C-4D6DA6BFA2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1570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pos="3556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sub-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0F317-4110-93B3-B9DE-2463263AF9C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73C78F-543D-0FE5-AC6D-97A58D2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A1648-417E-59AD-2CA3-D844E7D053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2" name="Table Placeholder 11">
            <a:extLst>
              <a:ext uri="{FF2B5EF4-FFF2-40B4-BE49-F238E27FC236}">
                <a16:creationId xmlns:a16="http://schemas.microsoft.com/office/drawing/2014/main" id="{19E379EB-7AC3-7232-E7ED-82AAD359758C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287338" y="1378800"/>
            <a:ext cx="11617200" cy="49032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106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mall light, Logo neg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49018480-D069-72D4-6596-EE4F496671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973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95">
          <p15:clr>
            <a:srgbClr val="FFC000"/>
          </p15:clr>
        </p15:guide>
        <p15:guide id="2" pos="871">
          <p15:clr>
            <a:srgbClr val="FFC000"/>
          </p15:clr>
        </p15:guide>
        <p15:guide id="3" orient="horz" pos="2904">
          <p15:clr>
            <a:srgbClr val="FFC000"/>
          </p15:clr>
        </p15:guide>
        <p15:guide id="4" orient="horz" pos="1898">
          <p15:clr>
            <a:srgbClr val="FFC000"/>
          </p15:clr>
        </p15:guide>
        <p15:guide id="5" orient="horz" pos="906">
          <p15:clr>
            <a:srgbClr val="FFC000"/>
          </p15:clr>
        </p15:guide>
        <p15:guide id="6" orient="horz" pos="3958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pos="7500">
          <p15:clr>
            <a:srgbClr val="FFC000"/>
          </p15:clr>
        </p15:guide>
        <p15:guide id="9" pos="181">
          <p15:clr>
            <a:srgbClr val="FFC000"/>
          </p15:clr>
        </p15:guide>
        <p15:guide id="10" orient="horz" pos="4142">
          <p15:clr>
            <a:srgbClr val="FFC000"/>
          </p15:clr>
        </p15:guide>
        <p15:guide id="11" orient="horz" pos="169">
          <p15:clr>
            <a:srgbClr val="FFC00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mall light, Logo po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594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4">
          <p15:clr>
            <a:srgbClr val="FFC000"/>
          </p15:clr>
        </p15:guide>
        <p15:guide id="2" orient="horz" pos="1898">
          <p15:clr>
            <a:srgbClr val="FFC000"/>
          </p15:clr>
        </p15:guide>
        <p15:guide id="3" orient="horz" pos="906">
          <p15:clr>
            <a:srgbClr val="FFC000"/>
          </p15:clr>
        </p15:guide>
        <p15:guide id="4" orient="horz" pos="3958">
          <p15:clr>
            <a:srgbClr val="FFC000"/>
          </p15:clr>
        </p15:guide>
        <p15:guide id="5" orient="horz" pos="865">
          <p15:clr>
            <a:srgbClr val="FFC000"/>
          </p15:clr>
        </p15:guide>
        <p15:guide id="6" pos="873">
          <p15:clr>
            <a:srgbClr val="FFC000"/>
          </p15:clr>
        </p15:guide>
        <p15:guide id="7" pos="3393">
          <p15:clr>
            <a:srgbClr val="FFC000"/>
          </p15:clr>
        </p15:guide>
        <p15:guide id="8" pos="7500">
          <p15:clr>
            <a:srgbClr val="FFC000"/>
          </p15:clr>
        </p15:guide>
        <p15:guide id="9" pos="181">
          <p15:clr>
            <a:srgbClr val="FFC000"/>
          </p15:clr>
        </p15:guide>
        <p15:guide id="10" orient="horz" pos="4142">
          <p15:clr>
            <a:srgbClr val="FFC000"/>
          </p15:clr>
        </p15:guide>
        <p15:guide id="11" orient="horz" pos="169">
          <p15:clr>
            <a:srgbClr val="FFC00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C9466D7-7026-11D5-2238-B3F59D15C2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6" y="272485"/>
            <a:ext cx="7669213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8F17C3B9-E8D0-267E-7146-1E9673361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76759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7E9B2076-03CD-8440-CDC8-1DA0E2603DEC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476618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CED04CBA-DE01-EE53-BB6F-07F996F8A4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78483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58DA222D-C25A-D45A-7FCE-85430FF2839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76883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4CE00001-8D51-75EC-4465-EED81474FE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8483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403703E-D04C-61D4-A8F8-131F1E60712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476883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5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7">
          <p15:clr>
            <a:srgbClr val="FFC000"/>
          </p15:clr>
        </p15:guide>
        <p15:guide id="2" pos="2373">
          <p15:clr>
            <a:srgbClr val="FFC000"/>
          </p15:clr>
        </p15:guide>
        <p15:guide id="3" pos="5009">
          <p15:clr>
            <a:srgbClr val="FFC000"/>
          </p15:clr>
        </p15:guide>
        <p15:guide id="4" pos="2819">
          <p15:clr>
            <a:srgbClr val="FFC000"/>
          </p15:clr>
        </p15:guide>
        <p15:guide id="5" orient="horz" pos="2904">
          <p15:clr>
            <a:srgbClr val="FFC000"/>
          </p15:clr>
        </p15:guide>
        <p15:guide id="6" orient="horz" pos="1898">
          <p15:clr>
            <a:srgbClr val="FFC000"/>
          </p15:clr>
        </p15:guide>
        <p15:guide id="7" pos="871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orient="horz" pos="906">
          <p15:clr>
            <a:srgbClr val="FFC000"/>
          </p15:clr>
        </p15:guide>
        <p15:guide id="10" orient="horz" pos="3958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C9466D7-7026-11D5-2238-B3F59D15C2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Graphic 4">
            <a:extLst>
              <a:ext uri="{FF2B5EF4-FFF2-40B4-BE49-F238E27FC236}">
                <a16:creationId xmlns:a16="http://schemas.microsoft.com/office/drawing/2014/main" id="{18856E0D-BA88-5530-3929-C472EBBF987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680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8F17C3B9-E8D0-267E-7146-1E9673361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76760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7E9B2076-03CD-8440-CDC8-1DA0E2603DEC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476618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CED04CBA-DE01-EE53-BB6F-07F996F8A4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78483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58DA222D-C25A-D45A-7FCE-85430FF2839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76883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4CE00001-8D51-75EC-4465-EED81474FE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8483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403703E-D04C-61D4-A8F8-131F1E60712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476883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7" name="Gerade Verbindung 61">
            <a:extLst>
              <a:ext uri="{FF2B5EF4-FFF2-40B4-BE49-F238E27FC236}">
                <a16:creationId xmlns:a16="http://schemas.microsoft.com/office/drawing/2014/main" id="{80C5D521-F036-9A83-0F87-2C8872A57862}"/>
              </a:ext>
            </a:extLst>
          </p:cNvPr>
          <p:cNvCxnSpPr>
            <a:cxnSpLocks/>
          </p:cNvCxnSpPr>
          <p:nvPr userDrawn="1"/>
        </p:nvCxnSpPr>
        <p:spPr>
          <a:xfrm>
            <a:off x="0" y="1036800"/>
            <a:ext cx="803583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9747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7">
          <p15:clr>
            <a:srgbClr val="FFC000"/>
          </p15:clr>
        </p15:guide>
        <p15:guide id="2" pos="2373">
          <p15:clr>
            <a:srgbClr val="FFC000"/>
          </p15:clr>
        </p15:guide>
        <p15:guide id="3" pos="5009">
          <p15:clr>
            <a:srgbClr val="FFC000"/>
          </p15:clr>
        </p15:guide>
        <p15:guide id="4" pos="2819">
          <p15:clr>
            <a:srgbClr val="FFC000"/>
          </p15:clr>
        </p15:guide>
        <p15:guide id="5" pos="871">
          <p15:clr>
            <a:srgbClr val="FFC000"/>
          </p15:clr>
        </p15:guide>
        <p15:guide id="6" orient="horz" pos="2904">
          <p15:clr>
            <a:srgbClr val="FFC000"/>
          </p15:clr>
        </p15:guide>
        <p15:guide id="7" orient="horz" pos="1898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orient="horz" pos="906">
          <p15:clr>
            <a:srgbClr val="FFC000"/>
          </p15:clr>
        </p15:guide>
        <p15:guide id="10" orient="horz" pos="3958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mall light QR, Logo neg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48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925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6FAD160A-5087-060D-4C02-28422E86AB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656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0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pos="3395">
          <p15:clr>
            <a:srgbClr val="FFC000"/>
          </p15:clr>
        </p15:guide>
        <p15:guide id="4" pos="933">
          <p15:clr>
            <a:srgbClr val="FFC000"/>
          </p15:clr>
        </p15:guide>
        <p15:guide id="5" orient="horz" pos="2904">
          <p15:clr>
            <a:srgbClr val="FFC000"/>
          </p15:clr>
        </p15:guide>
        <p15:guide id="6" orient="horz" pos="1898">
          <p15:clr>
            <a:srgbClr val="FFC000"/>
          </p15:clr>
        </p15:guide>
        <p15:guide id="7" orient="horz" pos="906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mall light QR, Logo po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48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925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527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0">
          <p15:clr>
            <a:srgbClr val="FFC000"/>
          </p15:clr>
        </p15:guide>
        <p15:guide id="2" pos="933">
          <p15:clr>
            <a:srgbClr val="FFC000"/>
          </p15:clr>
        </p15:guide>
        <p15:guide id="3" pos="3395">
          <p15:clr>
            <a:srgbClr val="FFC000"/>
          </p15:clr>
        </p15:guide>
        <p15:guide id="4" orient="horz" pos="2904">
          <p15:clr>
            <a:srgbClr val="FFC000"/>
          </p15:clr>
        </p15:guide>
        <p15:guide id="5" orient="horz" pos="1898">
          <p15:clr>
            <a:srgbClr val="FFC000"/>
          </p15:clr>
        </p15:guide>
        <p15:guide id="6" orient="horz" pos="906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orient="horz" pos="3958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light Q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C45C550-67C8-8E0E-76B2-10F7BAEB016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11048" y="145080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226A956F-BF0B-11B1-BA4F-4767F296B544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6170764" y="13824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11">
            <a:extLst>
              <a:ext uri="{FF2B5EF4-FFF2-40B4-BE49-F238E27FC236}">
                <a16:creationId xmlns:a16="http://schemas.microsoft.com/office/drawing/2014/main" id="{438F40B8-7652-6E88-69E0-B92FC96B573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373429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8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72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6066C757-B811-657B-3587-2CB2D5EE671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09600" y="3034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Picture Placeholder 14">
            <a:extLst>
              <a:ext uri="{FF2B5EF4-FFF2-40B4-BE49-F238E27FC236}">
                <a16:creationId xmlns:a16="http://schemas.microsoft.com/office/drawing/2014/main" id="{D75DA5FC-FAB4-BE50-0AF6-4801151645F3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6170400" y="29700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553B8A1D-0F52-FC28-B579-9725A8C28F5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409600" y="4618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Picture Placeholder 14">
            <a:extLst>
              <a:ext uri="{FF2B5EF4-FFF2-40B4-BE49-F238E27FC236}">
                <a16:creationId xmlns:a16="http://schemas.microsoft.com/office/drawing/2014/main" id="{BFE1E6D1-EC3E-D0A2-7C0B-A87A65F18092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6170400" y="45504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11">
            <a:extLst>
              <a:ext uri="{FF2B5EF4-FFF2-40B4-BE49-F238E27FC236}">
                <a16:creationId xmlns:a16="http://schemas.microsoft.com/office/drawing/2014/main" id="{C3D8EE79-660C-D0CF-5B57-462E641198C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728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Picture Placeholder 11">
            <a:extLst>
              <a:ext uri="{FF2B5EF4-FFF2-40B4-BE49-F238E27FC236}">
                <a16:creationId xmlns:a16="http://schemas.microsoft.com/office/drawing/2014/main" id="{7BA30EF2-DB58-8C3A-3BAA-2769229A1D4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3728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213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1">
          <p15:clr>
            <a:srgbClr val="FFC000"/>
          </p15:clr>
        </p15:guide>
        <p15:guide id="2" pos="5289">
          <p15:clr>
            <a:srgbClr val="FFC000"/>
          </p15:clr>
        </p15:guide>
        <p15:guide id="3" pos="4633">
          <p15:clr>
            <a:srgbClr val="FFC000"/>
          </p15:clr>
        </p15:guide>
        <p15:guide id="4" pos="7095">
          <p15:clr>
            <a:srgbClr val="FFC000"/>
          </p15:clr>
        </p15:guide>
        <p15:guide id="5" pos="1590">
          <p15:clr>
            <a:srgbClr val="FFC000"/>
          </p15:clr>
        </p15:guide>
        <p15:guide id="6" pos="933">
          <p15:clr>
            <a:srgbClr val="FFC000"/>
          </p15:clr>
        </p15:guide>
        <p15:guide id="7" pos="3395">
          <p15:clr>
            <a:srgbClr val="FFC000"/>
          </p15:clr>
        </p15:guide>
        <p15:guide id="8" orient="horz" pos="2904">
          <p15:clr>
            <a:srgbClr val="FFC000"/>
          </p15:clr>
        </p15:guide>
        <p15:guide id="9" orient="horz" pos="1898">
          <p15:clr>
            <a:srgbClr val="FFC000"/>
          </p15:clr>
        </p15:guide>
        <p15:guide id="10" orient="horz" pos="906">
          <p15:clr>
            <a:srgbClr val="FFC000"/>
          </p15:clr>
        </p15:guide>
        <p15:guide id="11" orient="horz" pos="865">
          <p15:clr>
            <a:srgbClr val="FFC000"/>
          </p15:clr>
        </p15:guide>
        <p15:guide id="12" orient="horz" pos="3958">
          <p15:clr>
            <a:srgbClr val="FFC000"/>
          </p15:clr>
        </p15:guide>
        <p15:guide id="13" pos="7500">
          <p15:clr>
            <a:srgbClr val="FFC000"/>
          </p15:clr>
        </p15:guide>
        <p15:guide id="14" pos="181">
          <p15:clr>
            <a:srgbClr val="FFC000"/>
          </p15:clr>
        </p15:guide>
        <p15:guide id="15" orient="horz" pos="4142">
          <p15:clr>
            <a:srgbClr val="FFC000"/>
          </p15:clr>
        </p15:guide>
        <p15:guide id="16" orient="horz" pos="169">
          <p15:clr>
            <a:srgbClr val="FFC00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BCED6-8891-A832-3C0A-9345E3B25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975940-1288-FF90-7A5E-C4F6F23C3282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9F3BD1D-1CC2-2F07-D67E-F6637C2FBA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87CFEA-9729-4263-17A0-DA881A8DA1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63324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9">
          <p15:clr>
            <a:srgbClr val="FFC000"/>
          </p15:clr>
        </p15:guide>
        <p15:guide id="2" pos="2503">
          <p15:clr>
            <a:srgbClr val="FFC000"/>
          </p15:clr>
        </p15:guide>
        <p15:guide id="3" pos="2071">
          <p15:clr>
            <a:srgbClr val="FFC000"/>
          </p15:clr>
        </p15:guide>
        <p15:guide id="4" pos="1891">
          <p15:clr>
            <a:srgbClr val="FFC000"/>
          </p15:clr>
        </p15:guide>
        <p15:guide id="5" pos="1436">
          <p15:clr>
            <a:srgbClr val="FFC000"/>
          </p15:clr>
        </p15:guide>
        <p15:guide id="6" pos="1255">
          <p15:clr>
            <a:srgbClr val="FFC000"/>
          </p15:clr>
        </p15:guide>
        <p15:guide id="7" pos="804">
          <p15:clr>
            <a:srgbClr val="FFC000"/>
          </p15:clr>
        </p15:guide>
        <p15:guide id="8" pos="620">
          <p15:clr>
            <a:srgbClr val="FFC000"/>
          </p15:clr>
        </p15:guide>
        <p15:guide id="9" pos="181">
          <p15:clr>
            <a:srgbClr val="FFC000"/>
          </p15:clr>
        </p15:guide>
        <p15:guide id="10" pos="2684">
          <p15:clr>
            <a:srgbClr val="FFC000"/>
          </p15:clr>
        </p15:guide>
        <p15:guide id="11" pos="3295">
          <p15:clr>
            <a:srgbClr val="FFC000"/>
          </p15:clr>
        </p15:guide>
        <p15:guide id="12" pos="3113">
          <p15:clr>
            <a:srgbClr val="FFC000"/>
          </p15:clr>
        </p15:guide>
        <p15:guide id="13" pos="3751">
          <p15:clr>
            <a:srgbClr val="FFC000"/>
          </p15:clr>
        </p15:guide>
        <p15:guide id="14" pos="7061">
          <p15:clr>
            <a:srgbClr val="FFC000"/>
          </p15:clr>
        </p15:guide>
        <p15:guide id="15" pos="6901">
          <p15:clr>
            <a:srgbClr val="FFC000"/>
          </p15:clr>
        </p15:guide>
        <p15:guide id="16" pos="6449">
          <p15:clr>
            <a:srgbClr val="FFC000"/>
          </p15:clr>
        </p15:guide>
        <p15:guide id="17" pos="6269">
          <p15:clr>
            <a:srgbClr val="FFC000"/>
          </p15:clr>
        </p15:guide>
        <p15:guide id="18" pos="5816">
          <p15:clr>
            <a:srgbClr val="FFC000"/>
          </p15:clr>
        </p15:guide>
        <p15:guide id="19" pos="5634">
          <p15:clr>
            <a:srgbClr val="FFC000"/>
          </p15:clr>
        </p15:guide>
        <p15:guide id="20" pos="5178">
          <p15:clr>
            <a:srgbClr val="FFC000"/>
          </p15:clr>
        </p15:guide>
        <p15:guide id="21" pos="4998">
          <p15:clr>
            <a:srgbClr val="FFC000"/>
          </p15:clr>
        </p15:guide>
        <p15:guide id="22" pos="4544">
          <p15:clr>
            <a:srgbClr val="FFC000"/>
          </p15:clr>
        </p15:guide>
        <p15:guide id="23" pos="4385">
          <p15:clr>
            <a:srgbClr val="FFC000"/>
          </p15:clr>
        </p15:guide>
        <p15:guide id="24" pos="3931">
          <p15:clr>
            <a:srgbClr val="FFC000"/>
          </p15:clr>
        </p15:guide>
        <p15:guide id="25" orient="horz" pos="4141">
          <p15:clr>
            <a:srgbClr val="FFC000"/>
          </p15:clr>
        </p15:guide>
        <p15:guide id="26" orient="horz" pos="3962">
          <p15:clr>
            <a:srgbClr val="FFC000"/>
          </p15:clr>
        </p15:guide>
        <p15:guide id="27" orient="horz" pos="166">
          <p15:clr>
            <a:srgbClr val="FFC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s with Background Blue 25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75BCEC29-2BC5-3234-39D0-FC2D17F5E4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975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08877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1BAE6905-FD07-5B0D-CB7E-5FE54EA1E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945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">
    <p:bg>
      <p:bgPr>
        <a:solidFill>
          <a:srgbClr val="2542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0">
            <a:extLst>
              <a:ext uri="{FF2B5EF4-FFF2-40B4-BE49-F238E27FC236}">
                <a16:creationId xmlns:a16="http://schemas.microsoft.com/office/drawing/2014/main" id="{6971360E-DEC6-482A-0192-70EC9DBBF4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179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ay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38521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 Blue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0">
            <a:extLst>
              <a:ext uri="{FF2B5EF4-FFF2-40B4-BE49-F238E27FC236}">
                <a16:creationId xmlns:a16="http://schemas.microsoft.com/office/drawing/2014/main" id="{6971360E-DEC6-482A-0192-70EC9DBBF4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447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2542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0">
            <a:extLst>
              <a:ext uri="{FF2B5EF4-FFF2-40B4-BE49-F238E27FC236}">
                <a16:creationId xmlns:a16="http://schemas.microsoft.com/office/drawing/2014/main" id="{B94BCFD9-747C-BA52-E311-DE236FD4E5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8645" y="3200400"/>
            <a:ext cx="347471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332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060BA6-1AFE-6EC1-D964-3568D124C7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9012CB-9309-1EF8-7AD0-F24DD6A5F5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338" y="2375159"/>
            <a:ext cx="5310187" cy="720000"/>
          </a:xfrm>
          <a:noFill/>
        </p:spPr>
        <p:txBody>
          <a:bodyPr anchor="t" anchorCtr="0"/>
          <a:lstStyle>
            <a:lvl1pPr algn="l">
              <a:lnSpc>
                <a:spcPct val="98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6B90887-ED35-5A20-7C9B-459ACC258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525" y="3024913"/>
            <a:ext cx="5310000" cy="1800000"/>
          </a:xfrm>
        </p:spPr>
        <p:txBody>
          <a:bodyPr tIns="259200"/>
          <a:lstStyle>
            <a:lvl1pPr marL="0" indent="0" algn="l">
              <a:lnSpc>
                <a:spcPct val="100000"/>
              </a:lnSpc>
              <a:spcAft>
                <a:spcPts val="16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00" b="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buNone/>
              <a:defRPr sz="1400"/>
            </a:lvl7pPr>
            <a:lvl8pPr marL="0" indent="0" algn="l">
              <a:lnSpc>
                <a:spcPct val="100000"/>
              </a:lnSpc>
              <a:buNone/>
              <a:defRPr sz="1400"/>
            </a:lvl8pPr>
            <a:lvl9pPr marL="0" indent="0" algn="l">
              <a:lnSpc>
                <a:spcPct val="100000"/>
              </a:lnSpc>
              <a:buNone/>
              <a:defRPr sz="1400"/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9C6DEC-DBDD-FC01-FA7E-98919C01D9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38" y="283377"/>
            <a:ext cx="2311200" cy="30338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1BBB2-EB11-D2F5-8AC3-BBF9BB3D2A20}"/>
              </a:ext>
            </a:extLst>
          </p:cNvPr>
          <p:cNvCxnSpPr/>
          <p:nvPr userDrawn="1"/>
        </p:nvCxnSpPr>
        <p:spPr>
          <a:xfrm>
            <a:off x="287336" y="2093439"/>
            <a:ext cx="531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5A68FFC5-B3C2-494C-58EE-8E70F9FDCA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15" y="6440208"/>
            <a:ext cx="1515600" cy="16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490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96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pos="7497">
          <p15:clr>
            <a:srgbClr val="FFC000"/>
          </p15:clr>
        </p15:guide>
        <p15:guide id="5" pos="178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73">
          <p15:clr>
            <a:srgbClr val="FFC00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060BA6-1AFE-6EC1-D964-3568D124C7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9012CB-9309-1EF8-7AD0-F24DD6A5F5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338" y="2375159"/>
            <a:ext cx="5310187" cy="720000"/>
          </a:xfrm>
          <a:noFill/>
        </p:spPr>
        <p:txBody>
          <a:bodyPr anchor="t" anchorCtr="0"/>
          <a:lstStyle>
            <a:lvl1pPr algn="l">
              <a:lnSpc>
                <a:spcPct val="98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6B90887-ED35-5A20-7C9B-459ACC258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336" y="3024000"/>
            <a:ext cx="5310000" cy="1800000"/>
          </a:xfrm>
        </p:spPr>
        <p:txBody>
          <a:bodyPr tIns="259200"/>
          <a:lstStyle>
            <a:lvl1pPr marL="0" indent="0" algn="l">
              <a:spcAft>
                <a:spcPts val="1600"/>
              </a:spcAft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9C6DEC-DBDD-FC01-FA7E-98919C01D9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096" y="283377"/>
            <a:ext cx="2305683" cy="30338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1BBB2-EB11-D2F5-8AC3-BBF9BB3D2A20}"/>
              </a:ext>
            </a:extLst>
          </p:cNvPr>
          <p:cNvCxnSpPr/>
          <p:nvPr userDrawn="1"/>
        </p:nvCxnSpPr>
        <p:spPr>
          <a:xfrm>
            <a:off x="287336" y="2093439"/>
            <a:ext cx="531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DB840ED-5D5E-5D88-FCF7-2D2ABA7BB0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315" y="6440208"/>
            <a:ext cx="1515600" cy="16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402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3839">
          <p15:clr>
            <a:srgbClr val="FFC000"/>
          </p15:clr>
        </p15:guide>
        <p15:guide id="4" orient="horz" pos="1495">
          <p15:clr>
            <a:srgbClr val="FFC000"/>
          </p15:clr>
        </p15:guide>
        <p15:guide id="5" pos="3525">
          <p15:clr>
            <a:srgbClr val="FFC000"/>
          </p15:clr>
        </p15:guide>
        <p15:guide id="6" pos="7500">
          <p15:clr>
            <a:srgbClr val="FFC000"/>
          </p15:clr>
        </p15:guide>
        <p15:guide id="7" pos="181">
          <p15:clr>
            <a:srgbClr val="FFC000"/>
          </p15:clr>
        </p15:guide>
        <p15:guide id="8" orient="horz" pos="4142">
          <p15:clr>
            <a:srgbClr val="FFC000"/>
          </p15:clr>
        </p15:guide>
        <p15:guide id="9" orient="horz" pos="169">
          <p15:clr>
            <a:srgbClr val="FFC00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ght with picture">
    <p:bg>
      <p:bgPr>
        <a:solidFill>
          <a:srgbClr val="3B2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>
            <a:extLst>
              <a:ext uri="{FF2B5EF4-FFF2-40B4-BE49-F238E27FC236}">
                <a16:creationId xmlns:a16="http://schemas.microsoft.com/office/drawing/2014/main" id="{0DDA66E8-9E80-6F8E-3097-58A7888CC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2418168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7000" b="0" kern="1200" spc="-500" baseline="0">
                <a:solidFill>
                  <a:schemeClr val="accent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CF035E-3E24-71F2-ECCF-0FC3A9F69A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EFAE0E-A49B-4091-85D7-B91D0281AE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E0787F05-BFE0-BCD8-3023-E6D2DDA482BC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A7429042-57AB-06D1-342B-2011144DE1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5227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1350">
          <p15:clr>
            <a:srgbClr val="FFC000"/>
          </p15:clr>
        </p15:guide>
        <p15:guide id="3" orient="horz" pos="1518">
          <p15:clr>
            <a:srgbClr val="FFC000"/>
          </p15:clr>
        </p15:guide>
        <p15:guide id="4" pos="170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dark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2418168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7000" b="0" kern="1200" spc="-500" baseline="0">
                <a:solidFill>
                  <a:schemeClr val="bg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3B064D5-18ED-8929-D911-00D06ABEE77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275322-EFFD-0088-ECD5-FCBA7849045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B9B72513-928F-1512-0B21-FDD4422728AA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rgbClr val="3B2398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CE893564-5FFC-47CD-6D92-4F47BAD9A0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rgbClr val="3B2398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01198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1529">
          <p15:clr>
            <a:srgbClr val="FFC000"/>
          </p15:clr>
        </p15:guide>
        <p15:guide id="3" orient="horz" pos="1347">
          <p15:clr>
            <a:srgbClr val="FFC000"/>
          </p15:clr>
        </p15:guide>
        <p15:guide id="4" pos="170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s with Backgroun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DCBA62C2-C7B7-87CF-008A-31AD89387C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254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ght">
    <p:bg>
      <p:bgPr>
        <a:solidFill>
          <a:srgbClr val="3B2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200" y="1227600"/>
            <a:ext cx="5634000" cy="846000"/>
          </a:xfrm>
        </p:spPr>
        <p:txBody>
          <a:bodyPr anchor="b" anchorCtr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EC3744-8767-F352-6BF4-168B27406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63393" y="2419200"/>
            <a:ext cx="5634000" cy="972000"/>
          </a:xfrm>
        </p:spPr>
        <p:txBody>
          <a:bodyPr tIns="72000"/>
          <a:lstStyle>
            <a:lvl1pPr marL="0" indent="0"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Grafik 10">
            <a:extLst>
              <a:ext uri="{FF2B5EF4-FFF2-40B4-BE49-F238E27FC236}">
                <a16:creationId xmlns:a16="http://schemas.microsoft.com/office/drawing/2014/main" id="{BA20CB27-0813-0E71-A6A9-F50F88640E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5000" b="0" kern="1200" spc="-500" baseline="0">
                <a:solidFill>
                  <a:schemeClr val="accent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5E4A31-4072-9922-D0F5-241C14B1A27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D7E3-B707-E68D-52EF-D4243EB0ECE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Online Image Placeholder 9">
            <a:extLst>
              <a:ext uri="{FF2B5EF4-FFF2-40B4-BE49-F238E27FC236}">
                <a16:creationId xmlns:a16="http://schemas.microsoft.com/office/drawing/2014/main" id="{A2F85F0E-6716-6BB7-327E-848037ACEF74}"/>
              </a:ext>
            </a:extLst>
          </p:cNvPr>
          <p:cNvSpPr>
            <a:spLocks noGrp="1" noChangeAspect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Online Image Placeholder 9">
            <a:extLst>
              <a:ext uri="{FF2B5EF4-FFF2-40B4-BE49-F238E27FC236}">
                <a16:creationId xmlns:a16="http://schemas.microsoft.com/office/drawing/2014/main" id="{2C4BC777-9D4E-C7CA-3A3A-715BA4AE1BB3}"/>
              </a:ext>
            </a:extLst>
          </p:cNvPr>
          <p:cNvSpPr>
            <a:spLocks noGrp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158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04">
          <p15:clr>
            <a:srgbClr val="FFC000"/>
          </p15:clr>
        </p15:guide>
        <p15:guide id="2" orient="horz" pos="1521">
          <p15:clr>
            <a:srgbClr val="FFC000"/>
          </p15:clr>
        </p15:guide>
        <p15:guide id="3" orient="horz" pos="1347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200" y="1227600"/>
            <a:ext cx="5634000" cy="846000"/>
          </a:xfrm>
        </p:spPr>
        <p:txBody>
          <a:bodyPr anchor="b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EC3744-8767-F352-6BF4-168B27406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63393" y="2419200"/>
            <a:ext cx="5634000" cy="972000"/>
          </a:xfrm>
        </p:spPr>
        <p:txBody>
          <a:bodyPr tIns="72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buNone/>
              <a:defRPr sz="1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5000" b="0" kern="1200" spc="-500" baseline="0">
                <a:solidFill>
                  <a:schemeClr val="bg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5" name="Online Image Placeholder 9">
            <a:extLst>
              <a:ext uri="{FF2B5EF4-FFF2-40B4-BE49-F238E27FC236}">
                <a16:creationId xmlns:a16="http://schemas.microsoft.com/office/drawing/2014/main" id="{478C4D49-CEE0-F698-6BA8-FA0FCE38B3F9}"/>
              </a:ext>
            </a:extLst>
          </p:cNvPr>
          <p:cNvSpPr>
            <a:spLocks noGrp="1" noChangeAspect="1"/>
          </p:cNvSpPr>
          <p:nvPr>
            <p:ph type="clipArt" sz="quarter" idx="21" hasCustomPrompt="1"/>
          </p:nvPr>
        </p:nvSpPr>
        <p:spPr>
          <a:xfrm>
            <a:off x="288000" y="2228400"/>
            <a:ext cx="3679200" cy="25400"/>
          </a:xfrm>
          <a:solidFill>
            <a:srgbClr val="3B2398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7" name="Online Image Placeholder 9">
            <a:extLst>
              <a:ext uri="{FF2B5EF4-FFF2-40B4-BE49-F238E27FC236}">
                <a16:creationId xmlns:a16="http://schemas.microsoft.com/office/drawing/2014/main" id="{A376B192-2A46-822B-5534-30CCE0DDCD9F}"/>
              </a:ext>
            </a:extLst>
          </p:cNvPr>
          <p:cNvSpPr>
            <a:spLocks noGrp="1"/>
          </p:cNvSpPr>
          <p:nvPr>
            <p:ph type="clipArt" sz="quarter" idx="22" hasCustomPrompt="1"/>
          </p:nvPr>
        </p:nvSpPr>
        <p:spPr>
          <a:xfrm>
            <a:off x="10751366" y="2228400"/>
            <a:ext cx="1440634" cy="25200"/>
          </a:xfrm>
          <a:solidFill>
            <a:srgbClr val="3B2398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C732ECB-9388-8CA1-EB01-6E87A925AB1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265200" y="6450420"/>
            <a:ext cx="66564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FEBCB2A-7E50-4B55-C1F3-33448BAC5B2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249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1">
          <p15:clr>
            <a:srgbClr val="FFC000"/>
          </p15:clr>
        </p15:guide>
        <p15:guide id="2" orient="horz" pos="1347">
          <p15:clr>
            <a:srgbClr val="FFC000"/>
          </p15:clr>
        </p15:guide>
        <p15:guide id="3" pos="1704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, Picture large">
    <p:bg>
      <p:bgPr>
        <a:solidFill>
          <a:srgbClr val="3B2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>
            <a:extLst>
              <a:ext uri="{FF2B5EF4-FFF2-40B4-BE49-F238E27FC236}">
                <a16:creationId xmlns:a16="http://schemas.microsoft.com/office/drawing/2014/main" id="{DCEA1B8A-ACF1-3919-0C08-7E71980EBE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1376363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CF035E-3E24-71F2-ECCF-0FC3A9F69A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EFAE0E-A49B-4091-85D7-B91D0281AE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E0787F05-BFE0-BCD8-3023-E6D2DDA482BC}"/>
              </a:ext>
            </a:extLst>
          </p:cNvPr>
          <p:cNvSpPr>
            <a:spLocks noGrp="1" noChangeAspect="1"/>
          </p:cNvSpPr>
          <p:nvPr>
            <p:ph type="clipArt" sz="quarter" idx="20" hasCustomPrompt="1"/>
          </p:nvPr>
        </p:nvSpPr>
        <p:spPr>
          <a:xfrm>
            <a:off x="288000" y="10368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A7429042-57AB-06D1-342B-2011144DE143}"/>
              </a:ext>
            </a:extLst>
          </p:cNvPr>
          <p:cNvSpPr>
            <a:spLocks noGrp="1"/>
          </p:cNvSpPr>
          <p:nvPr>
            <p:ph type="clipArt" sz="quarter" idx="21" hasCustomPrompt="1"/>
          </p:nvPr>
        </p:nvSpPr>
        <p:spPr>
          <a:xfrm>
            <a:off x="10751366" y="10368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879761B-5C15-26D3-4E48-C9A8F18D168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70" y="1928174"/>
            <a:ext cx="2400300" cy="3060000"/>
          </a:xfrm>
        </p:spPr>
        <p:txBody>
          <a:bodyPr tIns="378000"/>
          <a:lstStyle>
            <a:lvl1pPr>
              <a:defRPr b="0"/>
            </a:lvl1pPr>
            <a:lvl2pPr>
              <a:spcAft>
                <a:spcPts val="1600"/>
              </a:spcAft>
              <a:defRPr/>
            </a:lvl2pPr>
            <a:lvl3pPr marL="0" indent="0">
              <a:buNone/>
              <a:defRPr/>
            </a:lvl3pPr>
            <a:lvl4pPr marL="270000" indent="-270000">
              <a:spcAft>
                <a:spcPts val="1600"/>
              </a:spcAft>
              <a:buFont typeface="Symbol" panose="05050102010706020507" pitchFamily="18" charset="2"/>
              <a:buChar char="-"/>
              <a:defRPr sz="1400" b="0"/>
            </a:lvl4pPr>
            <a:lvl5pPr marL="0" indent="0" algn="l">
              <a:spcAft>
                <a:spcPts val="600"/>
              </a:spcAft>
              <a:buNone/>
              <a:defRPr sz="1400" b="0"/>
            </a:lvl5pPr>
            <a:lvl6pPr marL="270000" indent="-270000" algn="l">
              <a:spcAft>
                <a:spcPts val="1600"/>
              </a:spcAft>
              <a:buFont typeface="Symbol" panose="05050102010706020507" pitchFamily="18" charset="2"/>
              <a:buChar char="-"/>
              <a:defRPr sz="1400" b="0"/>
            </a:lvl6pPr>
            <a:lvl7pPr marL="0" indent="0" algn="l">
              <a:lnSpc>
                <a:spcPct val="100000"/>
              </a:lnSpc>
              <a:spcAft>
                <a:spcPts val="600"/>
              </a:spcAft>
              <a:buNone/>
              <a:defRPr sz="1400" b="0"/>
            </a:lvl7pPr>
            <a:lvl8pPr marL="270000" indent="-270000" algn="l">
              <a:lnSpc>
                <a:spcPct val="100000"/>
              </a:lnSpc>
              <a:spcAft>
                <a:spcPts val="1600"/>
              </a:spcAft>
              <a:buFont typeface="Symbol" panose="05050102010706020507" pitchFamily="18" charset="2"/>
              <a:buChar char="-"/>
              <a:defRPr sz="1400"/>
            </a:lvl8pPr>
            <a:lvl9pPr>
              <a:lnSpc>
                <a:spcPct val="100000"/>
              </a:lnSpc>
              <a:spcAft>
                <a:spcPts val="6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7857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1696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ight">
    <p:bg>
      <p:bgPr>
        <a:solidFill>
          <a:srgbClr val="3B2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BED2D7BF-9930-126A-5935-B520619010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258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ight, Lin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rgbClr val="3B239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3" name="Grafik 10">
            <a:extLst>
              <a:ext uri="{FF2B5EF4-FFF2-40B4-BE49-F238E27FC236}">
                <a16:creationId xmlns:a16="http://schemas.microsoft.com/office/drawing/2014/main" id="{FC9AD835-EDF7-941C-5AC5-D89F9EE7FA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498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light, Lin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15601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rk, Lin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7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7C8480-EFC8-037D-4492-0D1A3CE0AEF3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rgbClr val="3B239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A0B6A31-3801-382C-595A-81D616D6F0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64D8672-5055-FE0F-0F41-09B11E1D86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065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pos="4981">
          <p15:clr>
            <a:srgbClr val="FFC000"/>
          </p15:clr>
        </p15:guide>
        <p15:guide id="3" orient="horz" pos="3957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, Picture">
    <p:bg>
      <p:bgPr>
        <a:solidFill>
          <a:srgbClr val="3B2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10">
            <a:extLst>
              <a:ext uri="{FF2B5EF4-FFF2-40B4-BE49-F238E27FC236}">
                <a16:creationId xmlns:a16="http://schemas.microsoft.com/office/drawing/2014/main" id="{7FA45EF1-65E8-7C9F-0BDF-ED75C2AABE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50904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8000" y="1379538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9502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393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Background Grey 95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1208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Blue 25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75BCEC29-2BC5-3234-39D0-FC2D17F5E4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91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A56E249-7AEA-83D1-24C6-550B472E2D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8" y="1378800"/>
            <a:ext cx="11615737" cy="4903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0F317-4110-93B3-B9DE-2463263AF9CA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73C78F-543D-0FE5-AC6D-97A58D2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A1648-417E-59AD-2CA3-D844E7D053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8517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DCBA62C2-C7B7-87CF-008A-31AD89387C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557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dark">
    <p:bg>
      <p:bgPr>
        <a:solidFill>
          <a:srgbClr val="3B2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505444E4-6B96-E182-C5E3-766A53CD51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765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3393">
          <p15:clr>
            <a:srgbClr val="FFC000"/>
          </p15:clr>
        </p15:guide>
        <p15:guide id="6" pos="7500">
          <p15:clr>
            <a:srgbClr val="FFC000"/>
          </p15:clr>
        </p15:guide>
        <p15:guide id="7" pos="181">
          <p15:clr>
            <a:srgbClr val="FFC000"/>
          </p15:clr>
        </p15:guide>
        <p15:guide id="8" orient="horz" pos="4142">
          <p15:clr>
            <a:srgbClr val="FFC000"/>
          </p15:clr>
        </p15:guide>
        <p15:guide id="9" orient="horz" pos="169">
          <p15:clr>
            <a:srgbClr val="FFC00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A56E249-7AEA-83D1-24C6-550B472E2D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8" y="1378800"/>
            <a:ext cx="11615737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0F317-4110-93B3-B9DE-2463263AF9C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73C78F-543D-0FE5-AC6D-97A58D2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A1648-417E-59AD-2CA3-D844E7D053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68241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6672" y="1378800"/>
            <a:ext cx="56700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6700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85B91D-4685-5F58-F0CF-68DFC8CADE2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B309E67-4CCB-C781-B73D-ABA1E30E8E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93417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pos="7500">
          <p15:clr>
            <a:srgbClr val="FFC000"/>
          </p15:clr>
        </p15:guide>
        <p15:guide id="4" pos="3912">
          <p15:clr>
            <a:srgbClr val="FFC000"/>
          </p15:clr>
        </p15:guide>
        <p15:guide id="5" pos="3767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39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F0F0774-A736-B58B-3457-888B317F237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00E0E6CC-1586-9C98-0538-5FE2A981A4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3684588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93B3071F-F438-DCFD-E005-F4E2F754048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16674" y="1378800"/>
            <a:ext cx="3686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9410BB89-0101-18E6-2EF2-6C91E8F158F7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260850" y="1378800"/>
            <a:ext cx="3686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F467332-8CFF-A83D-77AC-88AA3D45B7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350C5DF-5065-DC79-B6C0-C48D4B2C6C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53896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5158">
          <p15:clr>
            <a:srgbClr val="FFC000"/>
          </p15:clr>
        </p15:guide>
        <p15:guide id="4" pos="5015">
          <p15:clr>
            <a:srgbClr val="FFC000"/>
          </p15:clr>
        </p15:guide>
        <p15:guide id="5" pos="2677">
          <p15:clr>
            <a:srgbClr val="FFC000"/>
          </p15:clr>
        </p15:guide>
        <p15:guide id="6" pos="250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178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60CD936A-5C06-33D9-1B52-E475F551E9A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352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A3DA6D5A-A339-4B79-2219-AE17A229061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269938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12835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99">
          <p15:clr>
            <a:srgbClr val="FFC000"/>
          </p15:clr>
        </p15:guide>
        <p15:guide id="2" pos="5617">
          <p15:clr>
            <a:srgbClr val="FFC000"/>
          </p15:clr>
        </p15:guide>
        <p15:guide id="3" pos="3912">
          <p15:clr>
            <a:srgbClr val="FFC000"/>
          </p15:clr>
        </p15:guide>
        <p15:guide id="4" pos="3754">
          <p15:clr>
            <a:srgbClr val="FFC000"/>
          </p15:clr>
        </p15:guide>
        <p15:guide id="5" pos="2055">
          <p15:clr>
            <a:srgbClr val="FFC000"/>
          </p15:clr>
        </p15:guide>
        <p15:guide id="6" pos="1873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orient="horz" pos="3958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3: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CA56C73-8105-7A0C-158A-DF385A8EB7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216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7999" y="1378800"/>
            <a:ext cx="863692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6965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99">
          <p15:clr>
            <a:srgbClr val="FFC000"/>
          </p15:clr>
        </p15:guide>
        <p15:guide id="2" pos="5625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1: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CA56C73-8105-7A0C-158A-DF385A8EB7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8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66149" y="1378800"/>
            <a:ext cx="863692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2500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2055">
          <p15:clr>
            <a:srgbClr val="FFC000"/>
          </p15:clr>
        </p15:guide>
        <p15:guide id="4" pos="1873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2: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96E45D8-91E9-6F65-A257-0C6C537876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1732" y="1379538"/>
            <a:ext cx="5670418" cy="4903787"/>
          </a:xfrm>
          <a:custGeom>
            <a:avLst/>
            <a:gdLst>
              <a:gd name="connsiteX0" fmla="*/ 274367 w 5670418"/>
              <a:gd name="connsiteY0" fmla="*/ 0 h 4903787"/>
              <a:gd name="connsiteX1" fmla="*/ 5396975 w 5670418"/>
              <a:gd name="connsiteY1" fmla="*/ 0 h 4903787"/>
              <a:gd name="connsiteX2" fmla="*/ 5665768 w 5670418"/>
              <a:gd name="connsiteY2" fmla="*/ 219073 h 4903787"/>
              <a:gd name="connsiteX3" fmla="*/ 5670418 w 5670418"/>
              <a:gd name="connsiteY3" fmla="*/ 265202 h 4903787"/>
              <a:gd name="connsiteX4" fmla="*/ 5670418 w 5670418"/>
              <a:gd name="connsiteY4" fmla="*/ 4638586 h 4903787"/>
              <a:gd name="connsiteX5" fmla="*/ 5665768 w 5670418"/>
              <a:gd name="connsiteY5" fmla="*/ 4684715 h 4903787"/>
              <a:gd name="connsiteX6" fmla="*/ 5396975 w 5670418"/>
              <a:gd name="connsiteY6" fmla="*/ 4903787 h 4903787"/>
              <a:gd name="connsiteX7" fmla="*/ 274367 w 5670418"/>
              <a:gd name="connsiteY7" fmla="*/ 4903787 h 4903787"/>
              <a:gd name="connsiteX8" fmla="*/ 0 w 5670418"/>
              <a:gd name="connsiteY8" fmla="*/ 4629420 h 4903787"/>
              <a:gd name="connsiteX9" fmla="*/ 0 w 5670418"/>
              <a:gd name="connsiteY9" fmla="*/ 274367 h 4903787"/>
              <a:gd name="connsiteX10" fmla="*/ 274367 w 5670418"/>
              <a:gd name="connsiteY10" fmla="*/ 0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70418" h="4903787">
                <a:moveTo>
                  <a:pt x="274367" y="0"/>
                </a:moveTo>
                <a:lnTo>
                  <a:pt x="5396975" y="0"/>
                </a:lnTo>
                <a:cubicBezTo>
                  <a:pt x="5529563" y="0"/>
                  <a:pt x="5640184" y="94048"/>
                  <a:pt x="5665768" y="219073"/>
                </a:cubicBezTo>
                <a:lnTo>
                  <a:pt x="5670418" y="265202"/>
                </a:lnTo>
                <a:lnTo>
                  <a:pt x="5670418" y="4638586"/>
                </a:lnTo>
                <a:lnTo>
                  <a:pt x="5665768" y="4684715"/>
                </a:lnTo>
                <a:cubicBezTo>
                  <a:pt x="5640184" y="4809739"/>
                  <a:pt x="5529563" y="4903787"/>
                  <a:pt x="5396975" y="4903787"/>
                </a:cubicBezTo>
                <a:lnTo>
                  <a:pt x="274367" y="4903787"/>
                </a:lnTo>
                <a:cubicBezTo>
                  <a:pt x="122838" y="4903787"/>
                  <a:pt x="0" y="4780949"/>
                  <a:pt x="0" y="4629420"/>
                </a:cubicBezTo>
                <a:lnTo>
                  <a:pt x="0" y="274367"/>
                </a:lnTo>
                <a:cubicBezTo>
                  <a:pt x="0" y="122838"/>
                  <a:pt x="122838" y="0"/>
                  <a:pt x="27436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000" y="1378800"/>
            <a:ext cx="567147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5554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915">
          <p15:clr>
            <a:srgbClr val="FFC000"/>
          </p15:clr>
        </p15:guide>
        <p15:guide id="4" pos="376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2: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96E45D8-91E9-6F65-A257-0C6C537876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8000" y="1379538"/>
            <a:ext cx="5670418" cy="4903787"/>
          </a:xfrm>
          <a:custGeom>
            <a:avLst/>
            <a:gdLst>
              <a:gd name="connsiteX0" fmla="*/ 274367 w 5670418"/>
              <a:gd name="connsiteY0" fmla="*/ 0 h 4903787"/>
              <a:gd name="connsiteX1" fmla="*/ 5396975 w 5670418"/>
              <a:gd name="connsiteY1" fmla="*/ 0 h 4903787"/>
              <a:gd name="connsiteX2" fmla="*/ 5665768 w 5670418"/>
              <a:gd name="connsiteY2" fmla="*/ 219073 h 4903787"/>
              <a:gd name="connsiteX3" fmla="*/ 5670418 w 5670418"/>
              <a:gd name="connsiteY3" fmla="*/ 265202 h 4903787"/>
              <a:gd name="connsiteX4" fmla="*/ 5670418 w 5670418"/>
              <a:gd name="connsiteY4" fmla="*/ 4638586 h 4903787"/>
              <a:gd name="connsiteX5" fmla="*/ 5665768 w 5670418"/>
              <a:gd name="connsiteY5" fmla="*/ 4684715 h 4903787"/>
              <a:gd name="connsiteX6" fmla="*/ 5396975 w 5670418"/>
              <a:gd name="connsiteY6" fmla="*/ 4903787 h 4903787"/>
              <a:gd name="connsiteX7" fmla="*/ 274367 w 5670418"/>
              <a:gd name="connsiteY7" fmla="*/ 4903787 h 4903787"/>
              <a:gd name="connsiteX8" fmla="*/ 0 w 5670418"/>
              <a:gd name="connsiteY8" fmla="*/ 4629420 h 4903787"/>
              <a:gd name="connsiteX9" fmla="*/ 0 w 5670418"/>
              <a:gd name="connsiteY9" fmla="*/ 274367 h 4903787"/>
              <a:gd name="connsiteX10" fmla="*/ 274367 w 5670418"/>
              <a:gd name="connsiteY10" fmla="*/ 0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70418" h="4903787">
                <a:moveTo>
                  <a:pt x="274367" y="0"/>
                </a:moveTo>
                <a:lnTo>
                  <a:pt x="5396975" y="0"/>
                </a:lnTo>
                <a:cubicBezTo>
                  <a:pt x="5529563" y="0"/>
                  <a:pt x="5640184" y="94048"/>
                  <a:pt x="5665768" y="219073"/>
                </a:cubicBezTo>
                <a:lnTo>
                  <a:pt x="5670418" y="265202"/>
                </a:lnTo>
                <a:lnTo>
                  <a:pt x="5670418" y="4638586"/>
                </a:lnTo>
                <a:lnTo>
                  <a:pt x="5665768" y="4684715"/>
                </a:lnTo>
                <a:cubicBezTo>
                  <a:pt x="5640184" y="4809739"/>
                  <a:pt x="5529563" y="4903787"/>
                  <a:pt x="5396975" y="4903787"/>
                </a:cubicBezTo>
                <a:lnTo>
                  <a:pt x="274367" y="4903787"/>
                </a:lnTo>
                <a:cubicBezTo>
                  <a:pt x="122838" y="4903787"/>
                  <a:pt x="0" y="4780949"/>
                  <a:pt x="0" y="4629420"/>
                </a:cubicBezTo>
                <a:lnTo>
                  <a:pt x="0" y="274367"/>
                </a:lnTo>
                <a:cubicBezTo>
                  <a:pt x="0" y="122838"/>
                  <a:pt x="122838" y="0"/>
                  <a:pt x="27436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31600" y="1378800"/>
            <a:ext cx="567147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8789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915">
          <p15:clr>
            <a:srgbClr val="FFC000"/>
          </p15:clr>
        </p15:guide>
        <p15:guide id="4" pos="376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6672" y="1378800"/>
            <a:ext cx="56700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6700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85B91D-4685-5F58-F0CF-68DFC8CADE2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B309E67-4CCB-C781-B73D-ABA1E30E8E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7570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pos="7500">
          <p15:clr>
            <a:srgbClr val="FFC000"/>
          </p15:clr>
        </p15:guide>
        <p15:guide id="4" pos="3912">
          <p15:clr>
            <a:srgbClr val="FFC000"/>
          </p15:clr>
        </p15:guide>
        <p15:guide id="5" pos="3767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39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1: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0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9C72D0-9C75-B7FA-B88A-327B8440D37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65200" y="1379538"/>
            <a:ext cx="8637587" cy="4903049"/>
          </a:xfrm>
          <a:custGeom>
            <a:avLst/>
            <a:gdLst>
              <a:gd name="connsiteX0" fmla="*/ 267045 w 8637587"/>
              <a:gd name="connsiteY0" fmla="*/ 0 h 4903049"/>
              <a:gd name="connsiteX1" fmla="*/ 8370541 w 8637587"/>
              <a:gd name="connsiteY1" fmla="*/ 0 h 4903049"/>
              <a:gd name="connsiteX2" fmla="*/ 8418515 w 8637587"/>
              <a:gd name="connsiteY2" fmla="*/ 4836 h 4903049"/>
              <a:gd name="connsiteX3" fmla="*/ 8637587 w 8637587"/>
              <a:gd name="connsiteY3" fmla="*/ 273629 h 4903049"/>
              <a:gd name="connsiteX4" fmla="*/ 8637587 w 8637587"/>
              <a:gd name="connsiteY4" fmla="*/ 4628682 h 4903049"/>
              <a:gd name="connsiteX5" fmla="*/ 8363220 w 8637587"/>
              <a:gd name="connsiteY5" fmla="*/ 4903049 h 4903049"/>
              <a:gd name="connsiteX6" fmla="*/ 5396974 w 8637587"/>
              <a:gd name="connsiteY6" fmla="*/ 4903049 h 4903049"/>
              <a:gd name="connsiteX7" fmla="*/ 3240612 w 8637587"/>
              <a:gd name="connsiteY7" fmla="*/ 4903049 h 4903049"/>
              <a:gd name="connsiteX8" fmla="*/ 274366 w 8637587"/>
              <a:gd name="connsiteY8" fmla="*/ 4903049 h 4903049"/>
              <a:gd name="connsiteX9" fmla="*/ 21560 w 8637587"/>
              <a:gd name="connsiteY9" fmla="*/ 4735478 h 4903049"/>
              <a:gd name="connsiteX10" fmla="*/ 0 w 8637587"/>
              <a:gd name="connsiteY10" fmla="*/ 4628687 h 4903049"/>
              <a:gd name="connsiteX11" fmla="*/ 0 w 8637587"/>
              <a:gd name="connsiteY11" fmla="*/ 273625 h 4903049"/>
              <a:gd name="connsiteX12" fmla="*/ 21560 w 8637587"/>
              <a:gd name="connsiteY12" fmla="*/ 166833 h 4903049"/>
              <a:gd name="connsiteX13" fmla="*/ 219071 w 8637587"/>
              <a:gd name="connsiteY13" fmla="*/ 4836 h 490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37587" h="4903049">
                <a:moveTo>
                  <a:pt x="267045" y="0"/>
                </a:moveTo>
                <a:lnTo>
                  <a:pt x="8370541" y="0"/>
                </a:lnTo>
                <a:lnTo>
                  <a:pt x="8418515" y="4836"/>
                </a:lnTo>
                <a:cubicBezTo>
                  <a:pt x="8543539" y="30420"/>
                  <a:pt x="8637587" y="141041"/>
                  <a:pt x="8637587" y="273629"/>
                </a:cubicBezTo>
                <a:lnTo>
                  <a:pt x="8637587" y="4628682"/>
                </a:lnTo>
                <a:cubicBezTo>
                  <a:pt x="8637587" y="4780211"/>
                  <a:pt x="8514749" y="4903049"/>
                  <a:pt x="8363220" y="4903049"/>
                </a:cubicBezTo>
                <a:lnTo>
                  <a:pt x="5396974" y="4903049"/>
                </a:lnTo>
                <a:lnTo>
                  <a:pt x="3240612" y="4903049"/>
                </a:lnTo>
                <a:lnTo>
                  <a:pt x="274366" y="4903049"/>
                </a:lnTo>
                <a:cubicBezTo>
                  <a:pt x="160719" y="4903049"/>
                  <a:pt x="63211" y="4833953"/>
                  <a:pt x="21560" y="4735478"/>
                </a:cubicBezTo>
                <a:lnTo>
                  <a:pt x="0" y="4628687"/>
                </a:lnTo>
                <a:lnTo>
                  <a:pt x="0" y="273625"/>
                </a:lnTo>
                <a:lnTo>
                  <a:pt x="21560" y="166833"/>
                </a:lnTo>
                <a:cubicBezTo>
                  <a:pt x="56270" y="84771"/>
                  <a:pt x="129768" y="23110"/>
                  <a:pt x="219071" y="483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88835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2055">
          <p15:clr>
            <a:srgbClr val="FFC000"/>
          </p15:clr>
        </p15:guide>
        <p15:guide id="4" pos="1873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3: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196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EE23C52-6DAD-95DC-ED98-591B9334BBE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7338" y="1379538"/>
            <a:ext cx="8637587" cy="4903049"/>
          </a:xfrm>
          <a:custGeom>
            <a:avLst/>
            <a:gdLst>
              <a:gd name="connsiteX0" fmla="*/ 267045 w 8637587"/>
              <a:gd name="connsiteY0" fmla="*/ 0 h 4903049"/>
              <a:gd name="connsiteX1" fmla="*/ 8370541 w 8637587"/>
              <a:gd name="connsiteY1" fmla="*/ 0 h 4903049"/>
              <a:gd name="connsiteX2" fmla="*/ 8418515 w 8637587"/>
              <a:gd name="connsiteY2" fmla="*/ 4836 h 4903049"/>
              <a:gd name="connsiteX3" fmla="*/ 8637587 w 8637587"/>
              <a:gd name="connsiteY3" fmla="*/ 273629 h 4903049"/>
              <a:gd name="connsiteX4" fmla="*/ 8637587 w 8637587"/>
              <a:gd name="connsiteY4" fmla="*/ 4628682 h 4903049"/>
              <a:gd name="connsiteX5" fmla="*/ 8363220 w 8637587"/>
              <a:gd name="connsiteY5" fmla="*/ 4903049 h 4903049"/>
              <a:gd name="connsiteX6" fmla="*/ 5396974 w 8637587"/>
              <a:gd name="connsiteY6" fmla="*/ 4903049 h 4903049"/>
              <a:gd name="connsiteX7" fmla="*/ 3240612 w 8637587"/>
              <a:gd name="connsiteY7" fmla="*/ 4903049 h 4903049"/>
              <a:gd name="connsiteX8" fmla="*/ 274366 w 8637587"/>
              <a:gd name="connsiteY8" fmla="*/ 4903049 h 4903049"/>
              <a:gd name="connsiteX9" fmla="*/ 21560 w 8637587"/>
              <a:gd name="connsiteY9" fmla="*/ 4735478 h 4903049"/>
              <a:gd name="connsiteX10" fmla="*/ 0 w 8637587"/>
              <a:gd name="connsiteY10" fmla="*/ 4628687 h 4903049"/>
              <a:gd name="connsiteX11" fmla="*/ 0 w 8637587"/>
              <a:gd name="connsiteY11" fmla="*/ 273625 h 4903049"/>
              <a:gd name="connsiteX12" fmla="*/ 21560 w 8637587"/>
              <a:gd name="connsiteY12" fmla="*/ 166833 h 4903049"/>
              <a:gd name="connsiteX13" fmla="*/ 219071 w 8637587"/>
              <a:gd name="connsiteY13" fmla="*/ 4836 h 490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37587" h="4903049">
                <a:moveTo>
                  <a:pt x="267045" y="0"/>
                </a:moveTo>
                <a:lnTo>
                  <a:pt x="8370541" y="0"/>
                </a:lnTo>
                <a:lnTo>
                  <a:pt x="8418515" y="4836"/>
                </a:lnTo>
                <a:cubicBezTo>
                  <a:pt x="8543539" y="30420"/>
                  <a:pt x="8637587" y="141041"/>
                  <a:pt x="8637587" y="273629"/>
                </a:cubicBezTo>
                <a:lnTo>
                  <a:pt x="8637587" y="4628682"/>
                </a:lnTo>
                <a:cubicBezTo>
                  <a:pt x="8637587" y="4780211"/>
                  <a:pt x="8514749" y="4903049"/>
                  <a:pt x="8363220" y="4903049"/>
                </a:cubicBezTo>
                <a:lnTo>
                  <a:pt x="5396974" y="4903049"/>
                </a:lnTo>
                <a:lnTo>
                  <a:pt x="3240612" y="4903049"/>
                </a:lnTo>
                <a:lnTo>
                  <a:pt x="274366" y="4903049"/>
                </a:lnTo>
                <a:cubicBezTo>
                  <a:pt x="160719" y="4903049"/>
                  <a:pt x="63211" y="4833953"/>
                  <a:pt x="21560" y="4735478"/>
                </a:cubicBezTo>
                <a:lnTo>
                  <a:pt x="0" y="4628687"/>
                </a:lnTo>
                <a:lnTo>
                  <a:pt x="0" y="273625"/>
                </a:lnTo>
                <a:lnTo>
                  <a:pt x="21560" y="166833"/>
                </a:lnTo>
                <a:cubicBezTo>
                  <a:pt x="56270" y="84771"/>
                  <a:pt x="129768" y="23110"/>
                  <a:pt x="219071" y="483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59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08">
          <p15:clr>
            <a:srgbClr val="FFC000"/>
          </p15:clr>
        </p15:guide>
        <p15:guide id="2" pos="5627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full widt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4F0F322-EA25-ACAE-609C-DC51DE7031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7" y="1378800"/>
            <a:ext cx="11615736" cy="4903787"/>
          </a:xfrm>
          <a:custGeom>
            <a:avLst/>
            <a:gdLst>
              <a:gd name="connsiteX0" fmla="*/ 3245194 w 11615736"/>
              <a:gd name="connsiteY0" fmla="*/ 0 h 4903787"/>
              <a:gd name="connsiteX1" fmla="*/ 11348690 w 11615736"/>
              <a:gd name="connsiteY1" fmla="*/ 0 h 4903787"/>
              <a:gd name="connsiteX2" fmla="*/ 11396664 w 11615736"/>
              <a:gd name="connsiteY2" fmla="*/ 4836 h 4903787"/>
              <a:gd name="connsiteX3" fmla="*/ 11615736 w 11615736"/>
              <a:gd name="connsiteY3" fmla="*/ 273629 h 4903787"/>
              <a:gd name="connsiteX4" fmla="*/ 11615736 w 11615736"/>
              <a:gd name="connsiteY4" fmla="*/ 4628682 h 4903787"/>
              <a:gd name="connsiteX5" fmla="*/ 11341369 w 11615736"/>
              <a:gd name="connsiteY5" fmla="*/ 4903049 h 4903787"/>
              <a:gd name="connsiteX6" fmla="*/ 8375123 w 11615736"/>
              <a:gd name="connsiteY6" fmla="*/ 4903049 h 4903787"/>
              <a:gd name="connsiteX7" fmla="*/ 8370541 w 11615736"/>
              <a:gd name="connsiteY7" fmla="*/ 4903049 h 4903787"/>
              <a:gd name="connsiteX8" fmla="*/ 8363220 w 11615736"/>
              <a:gd name="connsiteY8" fmla="*/ 4903787 h 4903787"/>
              <a:gd name="connsiteX9" fmla="*/ 5396974 w 11615736"/>
              <a:gd name="connsiteY9" fmla="*/ 4903787 h 4903787"/>
              <a:gd name="connsiteX10" fmla="*/ 3240612 w 11615736"/>
              <a:gd name="connsiteY10" fmla="*/ 4903787 h 4903787"/>
              <a:gd name="connsiteX11" fmla="*/ 274366 w 11615736"/>
              <a:gd name="connsiteY11" fmla="*/ 4903787 h 4903787"/>
              <a:gd name="connsiteX12" fmla="*/ 21560 w 11615736"/>
              <a:gd name="connsiteY12" fmla="*/ 4736216 h 4903787"/>
              <a:gd name="connsiteX13" fmla="*/ 0 w 11615736"/>
              <a:gd name="connsiteY13" fmla="*/ 4629425 h 4903787"/>
              <a:gd name="connsiteX14" fmla="*/ 0 w 11615736"/>
              <a:gd name="connsiteY14" fmla="*/ 274363 h 4903787"/>
              <a:gd name="connsiteX15" fmla="*/ 21560 w 11615736"/>
              <a:gd name="connsiteY15" fmla="*/ 167571 h 4903787"/>
              <a:gd name="connsiteX16" fmla="*/ 219071 w 11615736"/>
              <a:gd name="connsiteY16" fmla="*/ 5574 h 4903787"/>
              <a:gd name="connsiteX17" fmla="*/ 267045 w 11615736"/>
              <a:gd name="connsiteY17" fmla="*/ 738 h 4903787"/>
              <a:gd name="connsiteX18" fmla="*/ 3237874 w 11615736"/>
              <a:gd name="connsiteY18" fmla="*/ 738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615736" h="4903787">
                <a:moveTo>
                  <a:pt x="3245194" y="0"/>
                </a:moveTo>
                <a:lnTo>
                  <a:pt x="11348690" y="0"/>
                </a:lnTo>
                <a:lnTo>
                  <a:pt x="11396664" y="4836"/>
                </a:lnTo>
                <a:cubicBezTo>
                  <a:pt x="11521688" y="30420"/>
                  <a:pt x="11615736" y="141041"/>
                  <a:pt x="11615736" y="273629"/>
                </a:cubicBezTo>
                <a:lnTo>
                  <a:pt x="11615736" y="4628682"/>
                </a:lnTo>
                <a:cubicBezTo>
                  <a:pt x="11615736" y="4780211"/>
                  <a:pt x="11492898" y="4903049"/>
                  <a:pt x="11341369" y="4903049"/>
                </a:cubicBezTo>
                <a:lnTo>
                  <a:pt x="8375123" y="4903049"/>
                </a:lnTo>
                <a:lnTo>
                  <a:pt x="8370541" y="4903049"/>
                </a:lnTo>
                <a:lnTo>
                  <a:pt x="8363220" y="4903787"/>
                </a:lnTo>
                <a:lnTo>
                  <a:pt x="5396974" y="4903787"/>
                </a:lnTo>
                <a:lnTo>
                  <a:pt x="3240612" y="4903787"/>
                </a:lnTo>
                <a:lnTo>
                  <a:pt x="274366" y="4903787"/>
                </a:lnTo>
                <a:cubicBezTo>
                  <a:pt x="160719" y="4903787"/>
                  <a:pt x="63211" y="4834691"/>
                  <a:pt x="21560" y="4736216"/>
                </a:cubicBezTo>
                <a:lnTo>
                  <a:pt x="0" y="4629425"/>
                </a:lnTo>
                <a:lnTo>
                  <a:pt x="0" y="274363"/>
                </a:lnTo>
                <a:lnTo>
                  <a:pt x="21560" y="167571"/>
                </a:lnTo>
                <a:cubicBezTo>
                  <a:pt x="56270" y="85509"/>
                  <a:pt x="129768" y="23848"/>
                  <a:pt x="219071" y="5574"/>
                </a:cubicBezTo>
                <a:lnTo>
                  <a:pt x="267045" y="738"/>
                </a:lnTo>
                <a:lnTo>
                  <a:pt x="3237874" y="7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240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9AFD43-5FF5-07CF-598F-C6154BEE6A9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6466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9">
          <p15:clr>
            <a:srgbClr val="FFC000"/>
          </p15:clr>
        </p15:guide>
        <p15:guide id="2" pos="2503">
          <p15:clr>
            <a:srgbClr val="FFC000"/>
          </p15:clr>
        </p15:guide>
        <p15:guide id="3" pos="2071">
          <p15:clr>
            <a:srgbClr val="FFC000"/>
          </p15:clr>
        </p15:guide>
        <p15:guide id="4" pos="1891">
          <p15:clr>
            <a:srgbClr val="FFC000"/>
          </p15:clr>
        </p15:guide>
        <p15:guide id="5" pos="1436">
          <p15:clr>
            <a:srgbClr val="FFC000"/>
          </p15:clr>
        </p15:guide>
        <p15:guide id="6" pos="1255">
          <p15:clr>
            <a:srgbClr val="FFC000"/>
          </p15:clr>
        </p15:guide>
        <p15:guide id="7" pos="804">
          <p15:clr>
            <a:srgbClr val="FFC000"/>
          </p15:clr>
        </p15:guide>
        <p15:guide id="8" pos="620">
          <p15:clr>
            <a:srgbClr val="FFC000"/>
          </p15:clr>
        </p15:guide>
        <p15:guide id="9" pos="181">
          <p15:clr>
            <a:srgbClr val="FFC000"/>
          </p15:clr>
        </p15:guide>
        <p15:guide id="10" pos="2684">
          <p15:clr>
            <a:srgbClr val="FFC000"/>
          </p15:clr>
        </p15:guide>
        <p15:guide id="11" pos="3295">
          <p15:clr>
            <a:srgbClr val="FFC000"/>
          </p15:clr>
        </p15:guide>
        <p15:guide id="12" pos="3113">
          <p15:clr>
            <a:srgbClr val="FFC000"/>
          </p15:clr>
        </p15:guide>
        <p15:guide id="13" pos="3751">
          <p15:clr>
            <a:srgbClr val="FFC000"/>
          </p15:clr>
        </p15:guide>
        <p15:guide id="14" pos="7061">
          <p15:clr>
            <a:srgbClr val="FFC000"/>
          </p15:clr>
        </p15:guide>
        <p15:guide id="15" pos="6901">
          <p15:clr>
            <a:srgbClr val="FFC000"/>
          </p15:clr>
        </p15:guide>
        <p15:guide id="16" pos="6449">
          <p15:clr>
            <a:srgbClr val="FFC000"/>
          </p15:clr>
        </p15:guide>
        <p15:guide id="17" pos="6269">
          <p15:clr>
            <a:srgbClr val="FFC000"/>
          </p15:clr>
        </p15:guide>
        <p15:guide id="18" pos="5816">
          <p15:clr>
            <a:srgbClr val="FFC000"/>
          </p15:clr>
        </p15:guide>
        <p15:guide id="19" pos="5634">
          <p15:clr>
            <a:srgbClr val="FFC000"/>
          </p15:clr>
        </p15:guide>
        <p15:guide id="20" pos="5178">
          <p15:clr>
            <a:srgbClr val="FFC000"/>
          </p15:clr>
        </p15:guide>
        <p15:guide id="21" pos="4998">
          <p15:clr>
            <a:srgbClr val="FFC000"/>
          </p15:clr>
        </p15:guide>
        <p15:guide id="22" pos="4544">
          <p15:clr>
            <a:srgbClr val="FFC000"/>
          </p15:clr>
        </p15:guide>
        <p15:guide id="23" pos="4385">
          <p15:clr>
            <a:srgbClr val="FFC000"/>
          </p15:clr>
        </p15:guide>
        <p15:guide id="24" pos="3931">
          <p15:clr>
            <a:srgbClr val="FFC000"/>
          </p15:clr>
        </p15:guide>
        <p15:guide id="25" orient="horz" pos="4141">
          <p15:clr>
            <a:srgbClr val="FFC000"/>
          </p15:clr>
        </p15:guide>
        <p15:guide id="26" orient="horz" pos="3962">
          <p15:clr>
            <a:srgbClr val="FFC000"/>
          </p15:clr>
        </p15:guide>
        <p15:guide id="27" orient="horz" pos="166">
          <p15:clr>
            <a:srgbClr val="FFC00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BC6E3AB-0636-57B2-4C36-AC798D6B06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0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5A7C009-966B-009A-E119-D98EDBB960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0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FCEF823-670B-2AD2-6E20-55B1F88A48E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688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B4FBDE2-69A3-83BC-90B8-D68A711F9E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352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070E2F6E-F2A4-9A59-115B-08EEEAF78B0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96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93BBFB66-7482-7164-A64A-968F6356FA5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270275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31F66869-8715-1AC4-BB36-53CF23C5B2E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352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C197165B-607C-959F-F199-34120D43467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2196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84608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5806">
          <p15:clr>
            <a:srgbClr val="FFC000"/>
          </p15:clr>
        </p15:guide>
        <p15:guide id="4" pos="5617">
          <p15:clr>
            <a:srgbClr val="FFC000"/>
          </p15:clr>
        </p15:guide>
        <p15:guide id="5" pos="3912">
          <p15:clr>
            <a:srgbClr val="FFC000"/>
          </p15:clr>
        </p15:guide>
        <p15:guide id="6" pos="3754">
          <p15:clr>
            <a:srgbClr val="FFC000"/>
          </p15:clr>
        </p15:guide>
        <p15:guide id="7" pos="2055">
          <p15:clr>
            <a:srgbClr val="FFC000"/>
          </p15:clr>
        </p15:guide>
        <p15:guide id="8" pos="1873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s with Depos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C1E507DF-D53B-3BE4-1A00-07C74C890A5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/>
            </a:lvl1pPr>
            <a:lvl2pPr marL="0" indent="0" algn="ctr">
              <a:spcAft>
                <a:spcPts val="600"/>
              </a:spcAft>
              <a:buNone/>
              <a:defRPr sz="2000" b="1"/>
            </a:lvl2pPr>
            <a:lvl3pPr marL="0" indent="0" algn="ctr">
              <a:spcAft>
                <a:spcPts val="600"/>
              </a:spcAft>
              <a:buNone/>
              <a:defRPr sz="3000" b="0"/>
            </a:lvl3pPr>
            <a:lvl4pPr marL="0" indent="0" algn="ctr">
              <a:spcAft>
                <a:spcPts val="600"/>
              </a:spcAft>
              <a:buNone/>
              <a:defRPr sz="4800"/>
            </a:lvl4pPr>
            <a:lvl5pPr>
              <a:spcAft>
                <a:spcPts val="600"/>
              </a:spcAft>
              <a:defRPr sz="1400"/>
            </a:lvl5pPr>
            <a:lvl6pPr>
              <a:spcAft>
                <a:spcPts val="600"/>
              </a:spcAft>
              <a:defRPr sz="1400"/>
            </a:lvl6pPr>
            <a:lvl7pPr>
              <a:spcAft>
                <a:spcPts val="600"/>
              </a:spcAft>
              <a:defRPr sz="1400"/>
            </a:lvl7pPr>
            <a:lvl8pPr>
              <a:spcAft>
                <a:spcPts val="600"/>
              </a:spcAft>
              <a:defRPr sz="14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81DD2EF-6E62-0069-4582-4CFA7F89136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88000" y="3968525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DAA20D63-B477-B8C1-E93C-EFEB50581D3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231600" y="1378800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B8735F24-7570-5F03-F59D-0B5175E0FC1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688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D4CFFF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rgbClr val="3B2398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rgbClr val="3B2398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rgbClr val="3B2398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rgbClr val="3B2398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rgbClr val="3B2398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rgbClr val="3B2398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rgbClr val="3B2398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rgbClr val="3B2398"/>
                </a:solidFill>
              </a:defRPr>
            </a:lvl8pPr>
            <a:lvl9pPr>
              <a:defRPr>
                <a:solidFill>
                  <a:srgbClr val="3B2398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0E93F332-4FA1-F307-866F-643689147FF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216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F1F1F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/>
            </a:lvl1pPr>
            <a:lvl2pPr marL="0" indent="0" algn="ctr">
              <a:spcAft>
                <a:spcPts val="600"/>
              </a:spcAft>
              <a:buNone/>
              <a:defRPr sz="2000" b="1"/>
            </a:lvl2pPr>
            <a:lvl3pPr marL="0" indent="0" algn="ctr">
              <a:spcAft>
                <a:spcPts val="600"/>
              </a:spcAft>
              <a:buNone/>
              <a:defRPr sz="3000" b="0"/>
            </a:lvl3pPr>
            <a:lvl4pPr marL="0" indent="0" algn="ctr">
              <a:spcAft>
                <a:spcPts val="600"/>
              </a:spcAft>
              <a:buNone/>
              <a:defRPr sz="4800"/>
            </a:lvl4pPr>
            <a:lvl5pPr>
              <a:spcAft>
                <a:spcPts val="600"/>
              </a:spcAft>
              <a:defRPr sz="1400"/>
            </a:lvl5pPr>
            <a:lvl6pPr>
              <a:spcAft>
                <a:spcPts val="600"/>
              </a:spcAft>
              <a:defRPr sz="1400"/>
            </a:lvl6pPr>
            <a:lvl7pPr>
              <a:spcAft>
                <a:spcPts val="600"/>
              </a:spcAft>
              <a:defRPr sz="1400"/>
            </a:lvl7pPr>
            <a:lvl8pPr>
              <a:spcAft>
                <a:spcPts val="600"/>
              </a:spcAft>
              <a:defRPr sz="14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70C187E0-20D0-F7FF-79B9-F04FD6912A4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2688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3B2398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1BC731CC-642E-FB66-5FD0-1285316114E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2160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83C8507-E210-DECE-2D86-30260E35228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231600" y="3968525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09425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9">
          <p15:clr>
            <a:srgbClr val="FFC000"/>
          </p15:clr>
        </p15:guide>
        <p15:guide id="2" orient="horz" pos="2497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5799">
          <p15:clr>
            <a:srgbClr val="FFC000"/>
          </p15:clr>
        </p15:guide>
        <p15:guide id="6" pos="5617">
          <p15:clr>
            <a:srgbClr val="FFC000"/>
          </p15:clr>
        </p15:guide>
        <p15:guide id="7" pos="3912">
          <p15:clr>
            <a:srgbClr val="FFC000"/>
          </p15:clr>
        </p15:guide>
        <p15:guide id="8" pos="3754">
          <p15:clr>
            <a:srgbClr val="FFC000"/>
          </p15:clr>
        </p15:guide>
        <p15:guide id="9" pos="2055">
          <p15:clr>
            <a:srgbClr val="FFC000"/>
          </p15:clr>
        </p15:guide>
        <p15:guide id="10" pos="1873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different Contents with Depos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87EB98-B074-7A44-75A0-1471BA240A4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88001" y="1379538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9EE9B09-12C0-5733-2DA6-5E041426680E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268800" y="1378800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732F8AC-AEB3-A27F-8C44-736695E49607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231600" y="1378800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A1AC30F5-0F2F-BFF5-D1BA-25A2F146EDF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216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3B2398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03FA84C-056A-53BE-456B-CCD449F5A7D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2160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3B2398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0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84754BB6-3C5A-A7FC-96F2-0712A88702E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880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E974E1D0-D962-84A4-9F54-83801EF3D47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2688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tx2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tx2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tx2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tx2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tx2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tx2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6BCC89B-09E3-E8EB-D377-C04935A26673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316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67154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9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orient="horz" pos="2497">
          <p15:clr>
            <a:srgbClr val="FFC000"/>
          </p15:clr>
        </p15:guide>
        <p15:guide id="5" pos="5799">
          <p15:clr>
            <a:srgbClr val="FFC000"/>
          </p15:clr>
        </p15:guide>
        <p15:guide id="6" pos="5617">
          <p15:clr>
            <a:srgbClr val="FFC000"/>
          </p15:clr>
        </p15:guide>
        <p15:guide id="7" pos="3912">
          <p15:clr>
            <a:srgbClr val="FFC000"/>
          </p15:clr>
        </p15:guide>
        <p15:guide id="8" pos="3754">
          <p15:clr>
            <a:srgbClr val="FFC000"/>
          </p15:clr>
        </p15:guide>
        <p15:guide id="9" pos="2055">
          <p15:clr>
            <a:srgbClr val="FFC000"/>
          </p15:clr>
        </p15:guide>
        <p15:guide id="10" pos="1873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rge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83528461-6E55-5C10-2CBB-BE461203F371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287335" y="212400"/>
            <a:ext cx="8567739" cy="6073775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B581DD6D-83FF-0267-E76E-43ED8CE245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835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4">
          <p15:clr>
            <a:srgbClr val="FFC000"/>
          </p15:clr>
        </p15:guide>
        <p15:guide id="2" pos="5176">
          <p15:clr>
            <a:srgbClr val="FFC000"/>
          </p15:clr>
        </p15:guide>
        <p15:guide id="3" pos="5585">
          <p15:clr>
            <a:srgbClr val="FFC000"/>
          </p15:clr>
        </p15:guide>
        <p15:guide id="4" orient="horz" pos="3958">
          <p15:clr>
            <a:srgbClr val="FFC000"/>
          </p15:clr>
        </p15:guide>
        <p15:guide id="5" orient="horz" pos="865">
          <p15:clr>
            <a:srgbClr val="FFC000"/>
          </p15:clr>
        </p15:guide>
        <p15:guide id="6" pos="5762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rge dark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83528461-6E55-5C10-2CBB-BE461203F371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287338" y="212400"/>
            <a:ext cx="8568000" cy="6073775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CAC3FDC3-BFBF-F503-C15E-859DD8CB74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  <a:solidFill>
            <a:srgbClr val="3B2398"/>
          </a:solidFill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576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4">
          <p15:clr>
            <a:srgbClr val="FFC000"/>
          </p15:clr>
        </p15:guide>
        <p15:guide id="2" pos="5176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5585">
          <p15:clr>
            <a:srgbClr val="FFC000"/>
          </p15:clr>
        </p15:guide>
        <p15:guide id="6" pos="5762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mall light">
    <p:bg>
      <p:bgPr>
        <a:solidFill>
          <a:srgbClr val="3B2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9" name="Table Placeholder 14">
            <a:extLst>
              <a:ext uri="{FF2B5EF4-FFF2-40B4-BE49-F238E27FC236}">
                <a16:creationId xmlns:a16="http://schemas.microsoft.com/office/drawing/2014/main" id="{7BE4ABD4-8A17-D127-FE2B-06483E4EF321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287338" y="212400"/>
            <a:ext cx="5356225" cy="6073775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16741C30-F2D2-5A43-164C-4D6DA6BFA2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732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pos="3556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F0F0774-A736-B58B-3457-888B317F237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00E0E6CC-1586-9C98-0538-5FE2A981A4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3684588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93B3071F-F438-DCFD-E005-F4E2F754048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16674" y="1378800"/>
            <a:ext cx="3686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9410BB89-0101-18E6-2EF2-6C91E8F158F7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260850" y="1378800"/>
            <a:ext cx="3686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F467332-8CFF-A83D-77AC-88AA3D45B7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350C5DF-5065-DC79-B6C0-C48D4B2C6C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9430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5158">
          <p15:clr>
            <a:srgbClr val="FFC000"/>
          </p15:clr>
        </p15:guide>
        <p15:guide id="4" pos="5015">
          <p15:clr>
            <a:srgbClr val="FFC000"/>
          </p15:clr>
        </p15:guide>
        <p15:guide id="5" pos="2677">
          <p15:clr>
            <a:srgbClr val="FFC000"/>
          </p15:clr>
        </p15:guide>
        <p15:guide id="6" pos="250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sub-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0F317-4110-93B3-B9DE-2463263AF9C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73C78F-543D-0FE5-AC6D-97A58D2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A1648-417E-59AD-2CA3-D844E7D053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2" name="Table Placeholder 11">
            <a:extLst>
              <a:ext uri="{FF2B5EF4-FFF2-40B4-BE49-F238E27FC236}">
                <a16:creationId xmlns:a16="http://schemas.microsoft.com/office/drawing/2014/main" id="{19E379EB-7AC3-7232-E7ED-82AAD359758C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287338" y="1378800"/>
            <a:ext cx="11617200" cy="49032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877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mall light, Logo neg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49018480-D069-72D4-6596-EE4F496671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18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95">
          <p15:clr>
            <a:srgbClr val="FFC000"/>
          </p15:clr>
        </p15:guide>
        <p15:guide id="2" pos="871">
          <p15:clr>
            <a:srgbClr val="FFC000"/>
          </p15:clr>
        </p15:guide>
        <p15:guide id="3" orient="horz" pos="2904">
          <p15:clr>
            <a:srgbClr val="FFC000"/>
          </p15:clr>
        </p15:guide>
        <p15:guide id="4" orient="horz" pos="1898">
          <p15:clr>
            <a:srgbClr val="FFC000"/>
          </p15:clr>
        </p15:guide>
        <p15:guide id="5" orient="horz" pos="906">
          <p15:clr>
            <a:srgbClr val="FFC000"/>
          </p15:clr>
        </p15:guide>
        <p15:guide id="6" orient="horz" pos="3958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pos="7500">
          <p15:clr>
            <a:srgbClr val="FFC000"/>
          </p15:clr>
        </p15:guide>
        <p15:guide id="9" pos="181">
          <p15:clr>
            <a:srgbClr val="FFC000"/>
          </p15:clr>
        </p15:guide>
        <p15:guide id="10" orient="horz" pos="4142">
          <p15:clr>
            <a:srgbClr val="FFC000"/>
          </p15:clr>
        </p15:guide>
        <p15:guide id="11" orient="horz" pos="169">
          <p15:clr>
            <a:srgbClr val="FFC00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mall light, Logo po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789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4">
          <p15:clr>
            <a:srgbClr val="FFC000"/>
          </p15:clr>
        </p15:guide>
        <p15:guide id="2" orient="horz" pos="1898">
          <p15:clr>
            <a:srgbClr val="FFC000"/>
          </p15:clr>
        </p15:guide>
        <p15:guide id="3" orient="horz" pos="906">
          <p15:clr>
            <a:srgbClr val="FFC000"/>
          </p15:clr>
        </p15:guide>
        <p15:guide id="4" orient="horz" pos="3958">
          <p15:clr>
            <a:srgbClr val="FFC000"/>
          </p15:clr>
        </p15:guide>
        <p15:guide id="5" orient="horz" pos="865">
          <p15:clr>
            <a:srgbClr val="FFC000"/>
          </p15:clr>
        </p15:guide>
        <p15:guide id="6" pos="873">
          <p15:clr>
            <a:srgbClr val="FFC000"/>
          </p15:clr>
        </p15:guide>
        <p15:guide id="7" pos="3393">
          <p15:clr>
            <a:srgbClr val="FFC000"/>
          </p15:clr>
        </p15:guide>
        <p15:guide id="8" pos="7500">
          <p15:clr>
            <a:srgbClr val="FFC000"/>
          </p15:clr>
        </p15:guide>
        <p15:guide id="9" pos="181">
          <p15:clr>
            <a:srgbClr val="FFC000"/>
          </p15:clr>
        </p15:guide>
        <p15:guide id="10" orient="horz" pos="4142">
          <p15:clr>
            <a:srgbClr val="FFC000"/>
          </p15:clr>
        </p15:guide>
        <p15:guide id="11" orient="horz" pos="169">
          <p15:clr>
            <a:srgbClr val="FFC00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C9466D7-7026-11D5-2238-B3F59D15C2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6" y="272485"/>
            <a:ext cx="7669213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8F17C3B9-E8D0-267E-7146-1E9673361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76759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7E9B2076-03CD-8440-CDC8-1DA0E2603DEC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476618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CED04CBA-DE01-EE53-BB6F-07F996F8A4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78483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58DA222D-C25A-D45A-7FCE-85430FF2839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76883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4CE00001-8D51-75EC-4465-EED81474FE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8483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403703E-D04C-61D4-A8F8-131F1E60712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476883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792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7">
          <p15:clr>
            <a:srgbClr val="FFC000"/>
          </p15:clr>
        </p15:guide>
        <p15:guide id="2" pos="2373">
          <p15:clr>
            <a:srgbClr val="FFC000"/>
          </p15:clr>
        </p15:guide>
        <p15:guide id="3" pos="5009">
          <p15:clr>
            <a:srgbClr val="FFC000"/>
          </p15:clr>
        </p15:guide>
        <p15:guide id="4" pos="2819">
          <p15:clr>
            <a:srgbClr val="FFC000"/>
          </p15:clr>
        </p15:guide>
        <p15:guide id="5" orient="horz" pos="2904">
          <p15:clr>
            <a:srgbClr val="FFC000"/>
          </p15:clr>
        </p15:guide>
        <p15:guide id="6" orient="horz" pos="1898">
          <p15:clr>
            <a:srgbClr val="FFC000"/>
          </p15:clr>
        </p15:guide>
        <p15:guide id="7" pos="871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orient="horz" pos="906">
          <p15:clr>
            <a:srgbClr val="FFC000"/>
          </p15:clr>
        </p15:guide>
        <p15:guide id="10" orient="horz" pos="3958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C9466D7-7026-11D5-2238-B3F59D15C2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Graphic 4">
            <a:extLst>
              <a:ext uri="{FF2B5EF4-FFF2-40B4-BE49-F238E27FC236}">
                <a16:creationId xmlns:a16="http://schemas.microsoft.com/office/drawing/2014/main" id="{18856E0D-BA88-5530-3929-C472EBBF987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680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8F17C3B9-E8D0-267E-7146-1E9673361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76760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7E9B2076-03CD-8440-CDC8-1DA0E2603DEC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476618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CED04CBA-DE01-EE53-BB6F-07F996F8A4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78483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58DA222D-C25A-D45A-7FCE-85430FF2839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76883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4CE00001-8D51-75EC-4465-EED81474FE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8483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403703E-D04C-61D4-A8F8-131F1E60712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476883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7" name="Gerade Verbindung 61">
            <a:extLst>
              <a:ext uri="{FF2B5EF4-FFF2-40B4-BE49-F238E27FC236}">
                <a16:creationId xmlns:a16="http://schemas.microsoft.com/office/drawing/2014/main" id="{80C5D521-F036-9A83-0F87-2C8872A57862}"/>
              </a:ext>
            </a:extLst>
          </p:cNvPr>
          <p:cNvCxnSpPr>
            <a:cxnSpLocks/>
          </p:cNvCxnSpPr>
          <p:nvPr userDrawn="1"/>
        </p:nvCxnSpPr>
        <p:spPr>
          <a:xfrm>
            <a:off x="0" y="1036800"/>
            <a:ext cx="803583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8523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7">
          <p15:clr>
            <a:srgbClr val="FFC000"/>
          </p15:clr>
        </p15:guide>
        <p15:guide id="2" pos="2373">
          <p15:clr>
            <a:srgbClr val="FFC000"/>
          </p15:clr>
        </p15:guide>
        <p15:guide id="3" pos="5009">
          <p15:clr>
            <a:srgbClr val="FFC000"/>
          </p15:clr>
        </p15:guide>
        <p15:guide id="4" pos="2819">
          <p15:clr>
            <a:srgbClr val="FFC000"/>
          </p15:clr>
        </p15:guide>
        <p15:guide id="5" pos="871">
          <p15:clr>
            <a:srgbClr val="FFC000"/>
          </p15:clr>
        </p15:guide>
        <p15:guide id="6" orient="horz" pos="2904">
          <p15:clr>
            <a:srgbClr val="FFC000"/>
          </p15:clr>
        </p15:guide>
        <p15:guide id="7" orient="horz" pos="1898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orient="horz" pos="906">
          <p15:clr>
            <a:srgbClr val="FFC000"/>
          </p15:clr>
        </p15:guide>
        <p15:guide id="10" orient="horz" pos="3958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mall light QR, Logo neg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48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925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6FAD160A-5087-060D-4C02-28422E86AB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218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0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pos="3395">
          <p15:clr>
            <a:srgbClr val="FFC000"/>
          </p15:clr>
        </p15:guide>
        <p15:guide id="4" pos="933">
          <p15:clr>
            <a:srgbClr val="FFC000"/>
          </p15:clr>
        </p15:guide>
        <p15:guide id="5" orient="horz" pos="2904">
          <p15:clr>
            <a:srgbClr val="FFC000"/>
          </p15:clr>
        </p15:guide>
        <p15:guide id="6" orient="horz" pos="1898">
          <p15:clr>
            <a:srgbClr val="FFC000"/>
          </p15:clr>
        </p15:guide>
        <p15:guide id="7" orient="horz" pos="906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mall light QR, Logo po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48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925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600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0">
          <p15:clr>
            <a:srgbClr val="FFC000"/>
          </p15:clr>
        </p15:guide>
        <p15:guide id="2" pos="933">
          <p15:clr>
            <a:srgbClr val="FFC000"/>
          </p15:clr>
        </p15:guide>
        <p15:guide id="3" pos="3395">
          <p15:clr>
            <a:srgbClr val="FFC000"/>
          </p15:clr>
        </p15:guide>
        <p15:guide id="4" orient="horz" pos="2904">
          <p15:clr>
            <a:srgbClr val="FFC000"/>
          </p15:clr>
        </p15:guide>
        <p15:guide id="5" orient="horz" pos="1898">
          <p15:clr>
            <a:srgbClr val="FFC000"/>
          </p15:clr>
        </p15:guide>
        <p15:guide id="6" orient="horz" pos="906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orient="horz" pos="3958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light Q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C45C550-67C8-8E0E-76B2-10F7BAEB016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11048" y="145080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226A956F-BF0B-11B1-BA4F-4767F296B544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6170764" y="13824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11">
            <a:extLst>
              <a:ext uri="{FF2B5EF4-FFF2-40B4-BE49-F238E27FC236}">
                <a16:creationId xmlns:a16="http://schemas.microsoft.com/office/drawing/2014/main" id="{438F40B8-7652-6E88-69E0-B92FC96B573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373429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8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72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6066C757-B811-657B-3587-2CB2D5EE671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09600" y="3034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Picture Placeholder 14">
            <a:extLst>
              <a:ext uri="{FF2B5EF4-FFF2-40B4-BE49-F238E27FC236}">
                <a16:creationId xmlns:a16="http://schemas.microsoft.com/office/drawing/2014/main" id="{D75DA5FC-FAB4-BE50-0AF6-4801151645F3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6170400" y="29700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553B8A1D-0F52-FC28-B579-9725A8C28F5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409600" y="4618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Picture Placeholder 14">
            <a:extLst>
              <a:ext uri="{FF2B5EF4-FFF2-40B4-BE49-F238E27FC236}">
                <a16:creationId xmlns:a16="http://schemas.microsoft.com/office/drawing/2014/main" id="{BFE1E6D1-EC3E-D0A2-7C0B-A87A65F18092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6170400" y="45504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11">
            <a:extLst>
              <a:ext uri="{FF2B5EF4-FFF2-40B4-BE49-F238E27FC236}">
                <a16:creationId xmlns:a16="http://schemas.microsoft.com/office/drawing/2014/main" id="{C3D8EE79-660C-D0CF-5B57-462E641198C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728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Picture Placeholder 11">
            <a:extLst>
              <a:ext uri="{FF2B5EF4-FFF2-40B4-BE49-F238E27FC236}">
                <a16:creationId xmlns:a16="http://schemas.microsoft.com/office/drawing/2014/main" id="{7BA30EF2-DB58-8C3A-3BAA-2769229A1D4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3728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898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1">
          <p15:clr>
            <a:srgbClr val="FFC000"/>
          </p15:clr>
        </p15:guide>
        <p15:guide id="2" pos="5289">
          <p15:clr>
            <a:srgbClr val="FFC000"/>
          </p15:clr>
        </p15:guide>
        <p15:guide id="3" pos="4633">
          <p15:clr>
            <a:srgbClr val="FFC000"/>
          </p15:clr>
        </p15:guide>
        <p15:guide id="4" pos="7095">
          <p15:clr>
            <a:srgbClr val="FFC000"/>
          </p15:clr>
        </p15:guide>
        <p15:guide id="5" pos="1590">
          <p15:clr>
            <a:srgbClr val="FFC000"/>
          </p15:clr>
        </p15:guide>
        <p15:guide id="6" pos="933">
          <p15:clr>
            <a:srgbClr val="FFC000"/>
          </p15:clr>
        </p15:guide>
        <p15:guide id="7" pos="3395">
          <p15:clr>
            <a:srgbClr val="FFC000"/>
          </p15:clr>
        </p15:guide>
        <p15:guide id="8" orient="horz" pos="2904">
          <p15:clr>
            <a:srgbClr val="FFC000"/>
          </p15:clr>
        </p15:guide>
        <p15:guide id="9" orient="horz" pos="1898">
          <p15:clr>
            <a:srgbClr val="FFC000"/>
          </p15:clr>
        </p15:guide>
        <p15:guide id="10" orient="horz" pos="906">
          <p15:clr>
            <a:srgbClr val="FFC000"/>
          </p15:clr>
        </p15:guide>
        <p15:guide id="11" orient="horz" pos="865">
          <p15:clr>
            <a:srgbClr val="FFC000"/>
          </p15:clr>
        </p15:guide>
        <p15:guide id="12" orient="horz" pos="3958">
          <p15:clr>
            <a:srgbClr val="FFC000"/>
          </p15:clr>
        </p15:guide>
        <p15:guide id="13" pos="7500">
          <p15:clr>
            <a:srgbClr val="FFC000"/>
          </p15:clr>
        </p15:guide>
        <p15:guide id="14" pos="181">
          <p15:clr>
            <a:srgbClr val="FFC000"/>
          </p15:clr>
        </p15:guide>
        <p15:guide id="15" orient="horz" pos="4142">
          <p15:clr>
            <a:srgbClr val="FFC000"/>
          </p15:clr>
        </p15:guide>
        <p15:guide id="16" orient="horz" pos="169">
          <p15:clr>
            <a:srgbClr val="FFC00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BCED6-8891-A832-3C0A-9345E3B25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975940-1288-FF90-7A5E-C4F6F23C3282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9F3BD1D-1CC2-2F07-D67E-F6637C2FBA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87CFEA-9729-4263-17A0-DA881A8DA1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80578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9">
          <p15:clr>
            <a:srgbClr val="FFC000"/>
          </p15:clr>
        </p15:guide>
        <p15:guide id="2" pos="2503">
          <p15:clr>
            <a:srgbClr val="FFC000"/>
          </p15:clr>
        </p15:guide>
        <p15:guide id="3" pos="2071">
          <p15:clr>
            <a:srgbClr val="FFC000"/>
          </p15:clr>
        </p15:guide>
        <p15:guide id="4" pos="1891">
          <p15:clr>
            <a:srgbClr val="FFC000"/>
          </p15:clr>
        </p15:guide>
        <p15:guide id="5" pos="1436">
          <p15:clr>
            <a:srgbClr val="FFC000"/>
          </p15:clr>
        </p15:guide>
        <p15:guide id="6" pos="1255">
          <p15:clr>
            <a:srgbClr val="FFC000"/>
          </p15:clr>
        </p15:guide>
        <p15:guide id="7" pos="804">
          <p15:clr>
            <a:srgbClr val="FFC000"/>
          </p15:clr>
        </p15:guide>
        <p15:guide id="8" pos="620">
          <p15:clr>
            <a:srgbClr val="FFC000"/>
          </p15:clr>
        </p15:guide>
        <p15:guide id="9" pos="181">
          <p15:clr>
            <a:srgbClr val="FFC000"/>
          </p15:clr>
        </p15:guide>
        <p15:guide id="10" pos="2684">
          <p15:clr>
            <a:srgbClr val="FFC000"/>
          </p15:clr>
        </p15:guide>
        <p15:guide id="11" pos="3295">
          <p15:clr>
            <a:srgbClr val="FFC000"/>
          </p15:clr>
        </p15:guide>
        <p15:guide id="12" pos="3113">
          <p15:clr>
            <a:srgbClr val="FFC000"/>
          </p15:clr>
        </p15:guide>
        <p15:guide id="13" pos="3751">
          <p15:clr>
            <a:srgbClr val="FFC000"/>
          </p15:clr>
        </p15:guide>
        <p15:guide id="14" pos="7061">
          <p15:clr>
            <a:srgbClr val="FFC000"/>
          </p15:clr>
        </p15:guide>
        <p15:guide id="15" pos="6901">
          <p15:clr>
            <a:srgbClr val="FFC000"/>
          </p15:clr>
        </p15:guide>
        <p15:guide id="16" pos="6449">
          <p15:clr>
            <a:srgbClr val="FFC000"/>
          </p15:clr>
        </p15:guide>
        <p15:guide id="17" pos="6269">
          <p15:clr>
            <a:srgbClr val="FFC000"/>
          </p15:clr>
        </p15:guide>
        <p15:guide id="18" pos="5816">
          <p15:clr>
            <a:srgbClr val="FFC000"/>
          </p15:clr>
        </p15:guide>
        <p15:guide id="19" pos="5634">
          <p15:clr>
            <a:srgbClr val="FFC000"/>
          </p15:clr>
        </p15:guide>
        <p15:guide id="20" pos="5178">
          <p15:clr>
            <a:srgbClr val="FFC000"/>
          </p15:clr>
        </p15:guide>
        <p15:guide id="21" pos="4998">
          <p15:clr>
            <a:srgbClr val="FFC000"/>
          </p15:clr>
        </p15:guide>
        <p15:guide id="22" pos="4544">
          <p15:clr>
            <a:srgbClr val="FFC000"/>
          </p15:clr>
        </p15:guide>
        <p15:guide id="23" pos="4385">
          <p15:clr>
            <a:srgbClr val="FFC000"/>
          </p15:clr>
        </p15:guide>
        <p15:guide id="24" pos="3931">
          <p15:clr>
            <a:srgbClr val="FFC000"/>
          </p15:clr>
        </p15:guide>
        <p15:guide id="25" orient="horz" pos="4141">
          <p15:clr>
            <a:srgbClr val="FFC000"/>
          </p15:clr>
        </p15:guide>
        <p15:guide id="26" orient="horz" pos="3962">
          <p15:clr>
            <a:srgbClr val="FFC000"/>
          </p15:clr>
        </p15:guide>
        <p15:guide id="27" orient="horz" pos="166">
          <p15:clr>
            <a:srgbClr val="FFC00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2065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178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60CD936A-5C06-33D9-1B52-E475F551E9A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352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A3DA6D5A-A339-4B79-2219-AE17A229061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269938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221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99">
          <p15:clr>
            <a:srgbClr val="FFC000"/>
          </p15:clr>
        </p15:guide>
        <p15:guide id="2" pos="5617">
          <p15:clr>
            <a:srgbClr val="FFC000"/>
          </p15:clr>
        </p15:guide>
        <p15:guide id="3" pos="3912">
          <p15:clr>
            <a:srgbClr val="FFC000"/>
          </p15:clr>
        </p15:guide>
        <p15:guide id="4" pos="3754">
          <p15:clr>
            <a:srgbClr val="FFC000"/>
          </p15:clr>
        </p15:guide>
        <p15:guide id="5" pos="2055">
          <p15:clr>
            <a:srgbClr val="FFC000"/>
          </p15:clr>
        </p15:guide>
        <p15:guide id="6" pos="1873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orient="horz" pos="3958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1BAE6905-FD07-5B0D-CB7E-5FE54EA1E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7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">
    <p:bg>
      <p:bgPr>
        <a:solidFill>
          <a:srgbClr val="3B2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0">
            <a:extLst>
              <a:ext uri="{FF2B5EF4-FFF2-40B4-BE49-F238E27FC236}">
                <a16:creationId xmlns:a16="http://schemas.microsoft.com/office/drawing/2014/main" id="{6971360E-DEC6-482A-0192-70EC9DBBF4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947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ay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4927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 Blue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0">
            <a:extLst>
              <a:ext uri="{FF2B5EF4-FFF2-40B4-BE49-F238E27FC236}">
                <a16:creationId xmlns:a16="http://schemas.microsoft.com/office/drawing/2014/main" id="{6971360E-DEC6-482A-0192-70EC9DBBF4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772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3B2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0">
            <a:extLst>
              <a:ext uri="{FF2B5EF4-FFF2-40B4-BE49-F238E27FC236}">
                <a16:creationId xmlns:a16="http://schemas.microsoft.com/office/drawing/2014/main" id="{B94BCFD9-747C-BA52-E311-DE236FD4E5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8645" y="3200400"/>
            <a:ext cx="347471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080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060BA6-1AFE-6EC1-D964-3568D124C7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9012CB-9309-1EF8-7AD0-F24DD6A5F5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338" y="2375159"/>
            <a:ext cx="5310187" cy="720000"/>
          </a:xfrm>
          <a:noFill/>
        </p:spPr>
        <p:txBody>
          <a:bodyPr anchor="t" anchorCtr="0"/>
          <a:lstStyle>
            <a:lvl1pPr algn="l">
              <a:lnSpc>
                <a:spcPct val="98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6B90887-ED35-5A20-7C9B-459ACC258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525" y="3024913"/>
            <a:ext cx="5310000" cy="1800000"/>
          </a:xfrm>
        </p:spPr>
        <p:txBody>
          <a:bodyPr tIns="259200"/>
          <a:lstStyle>
            <a:lvl1pPr marL="0" indent="0" algn="l">
              <a:lnSpc>
                <a:spcPct val="100000"/>
              </a:lnSpc>
              <a:spcAft>
                <a:spcPts val="16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00" b="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buNone/>
              <a:defRPr sz="1400"/>
            </a:lvl7pPr>
            <a:lvl8pPr marL="0" indent="0" algn="l">
              <a:lnSpc>
                <a:spcPct val="100000"/>
              </a:lnSpc>
              <a:buNone/>
              <a:defRPr sz="1400"/>
            </a:lvl8pPr>
            <a:lvl9pPr marL="0" indent="0" algn="l">
              <a:lnSpc>
                <a:spcPct val="100000"/>
              </a:lnSpc>
              <a:buNone/>
              <a:defRPr sz="1400"/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9C6DEC-DBDD-FC01-FA7E-98919C01D9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38" y="283377"/>
            <a:ext cx="2311200" cy="30338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1BBB2-EB11-D2F5-8AC3-BBF9BB3D2A20}"/>
              </a:ext>
            </a:extLst>
          </p:cNvPr>
          <p:cNvCxnSpPr/>
          <p:nvPr userDrawn="1"/>
        </p:nvCxnSpPr>
        <p:spPr>
          <a:xfrm>
            <a:off x="287336" y="2093439"/>
            <a:ext cx="531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5A68FFC5-B3C2-494C-58EE-8E70F9FDCA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15" y="6440208"/>
            <a:ext cx="1515600" cy="16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658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96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pos="7497">
          <p15:clr>
            <a:srgbClr val="FFC000"/>
          </p15:clr>
        </p15:guide>
        <p15:guide id="5" pos="178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73">
          <p15:clr>
            <a:srgbClr val="FFC00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060BA6-1AFE-6EC1-D964-3568D124C7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9012CB-9309-1EF8-7AD0-F24DD6A5F5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338" y="2375159"/>
            <a:ext cx="5310187" cy="720000"/>
          </a:xfrm>
          <a:noFill/>
        </p:spPr>
        <p:txBody>
          <a:bodyPr anchor="t" anchorCtr="0"/>
          <a:lstStyle>
            <a:lvl1pPr algn="l">
              <a:lnSpc>
                <a:spcPct val="98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6B90887-ED35-5A20-7C9B-459ACC258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336" y="3024000"/>
            <a:ext cx="5310000" cy="1800000"/>
          </a:xfrm>
        </p:spPr>
        <p:txBody>
          <a:bodyPr tIns="259200"/>
          <a:lstStyle>
            <a:lvl1pPr marL="0" indent="0" algn="l">
              <a:spcAft>
                <a:spcPts val="1600"/>
              </a:spcAft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9C6DEC-DBDD-FC01-FA7E-98919C01D9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096" y="283377"/>
            <a:ext cx="2305683" cy="30338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1BBB2-EB11-D2F5-8AC3-BBF9BB3D2A20}"/>
              </a:ext>
            </a:extLst>
          </p:cNvPr>
          <p:cNvCxnSpPr/>
          <p:nvPr userDrawn="1"/>
        </p:nvCxnSpPr>
        <p:spPr>
          <a:xfrm>
            <a:off x="287336" y="2093439"/>
            <a:ext cx="531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DB840ED-5D5E-5D88-FCF7-2D2ABA7BB0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315" y="6440208"/>
            <a:ext cx="1515600" cy="16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322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3839">
          <p15:clr>
            <a:srgbClr val="FFC000"/>
          </p15:clr>
        </p15:guide>
        <p15:guide id="4" orient="horz" pos="1495">
          <p15:clr>
            <a:srgbClr val="FFC000"/>
          </p15:clr>
        </p15:guide>
        <p15:guide id="5" pos="3525">
          <p15:clr>
            <a:srgbClr val="FFC000"/>
          </p15:clr>
        </p15:guide>
        <p15:guide id="6" pos="7500">
          <p15:clr>
            <a:srgbClr val="FFC000"/>
          </p15:clr>
        </p15:guide>
        <p15:guide id="7" pos="181">
          <p15:clr>
            <a:srgbClr val="FFC000"/>
          </p15:clr>
        </p15:guide>
        <p15:guide id="8" orient="horz" pos="4142">
          <p15:clr>
            <a:srgbClr val="FFC000"/>
          </p15:clr>
        </p15:guide>
        <p15:guide id="9" orient="horz" pos="169">
          <p15:clr>
            <a:srgbClr val="FFC00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ght with picture">
    <p:bg>
      <p:bgPr>
        <a:solidFill>
          <a:srgbClr val="7218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>
            <a:extLst>
              <a:ext uri="{FF2B5EF4-FFF2-40B4-BE49-F238E27FC236}">
                <a16:creationId xmlns:a16="http://schemas.microsoft.com/office/drawing/2014/main" id="{0DDA66E8-9E80-6F8E-3097-58A7888CC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2418168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7000" b="0" kern="1200" spc="-500" baseline="0">
                <a:solidFill>
                  <a:schemeClr val="accent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CF035E-3E24-71F2-ECCF-0FC3A9F69A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EFAE0E-A49B-4091-85D7-B91D0281AE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E0787F05-BFE0-BCD8-3023-E6D2DDA482BC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A7429042-57AB-06D1-342B-2011144DE1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4735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1350">
          <p15:clr>
            <a:srgbClr val="FFC000"/>
          </p15:clr>
        </p15:guide>
        <p15:guide id="3" orient="horz" pos="1518">
          <p15:clr>
            <a:srgbClr val="FFC000"/>
          </p15:clr>
        </p15:guide>
        <p15:guide id="4" pos="170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dark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2418168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7000" b="0" kern="1200" spc="-500" baseline="0">
                <a:solidFill>
                  <a:schemeClr val="bg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3B064D5-18ED-8929-D911-00D06ABEE77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275322-EFFD-0088-ECD5-FCBA7849045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B9B72513-928F-1512-0B21-FDD4422728AA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rgbClr val="721833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CE893564-5FFC-47CD-6D92-4F47BAD9A0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rgbClr val="721833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138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1529">
          <p15:clr>
            <a:srgbClr val="FFC000"/>
          </p15:clr>
        </p15:guide>
        <p15:guide id="3" orient="horz" pos="1347">
          <p15:clr>
            <a:srgbClr val="FFC000"/>
          </p15:clr>
        </p15:guide>
        <p15:guide id="4" pos="170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ght">
    <p:bg>
      <p:bgPr>
        <a:solidFill>
          <a:srgbClr val="7218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200" y="1227600"/>
            <a:ext cx="5634000" cy="846000"/>
          </a:xfrm>
        </p:spPr>
        <p:txBody>
          <a:bodyPr anchor="b" anchorCtr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EC3744-8767-F352-6BF4-168B27406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63393" y="2419200"/>
            <a:ext cx="5634000" cy="972000"/>
          </a:xfrm>
        </p:spPr>
        <p:txBody>
          <a:bodyPr tIns="72000"/>
          <a:lstStyle>
            <a:lvl1pPr marL="0" indent="0"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Grafik 10">
            <a:extLst>
              <a:ext uri="{FF2B5EF4-FFF2-40B4-BE49-F238E27FC236}">
                <a16:creationId xmlns:a16="http://schemas.microsoft.com/office/drawing/2014/main" id="{BA20CB27-0813-0E71-A6A9-F50F88640E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5000" b="0" kern="1200" spc="-500" baseline="0">
                <a:solidFill>
                  <a:schemeClr val="accent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5E4A31-4072-9922-D0F5-241C14B1A27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D7E3-B707-E68D-52EF-D4243EB0ECE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Online Image Placeholder 9">
            <a:extLst>
              <a:ext uri="{FF2B5EF4-FFF2-40B4-BE49-F238E27FC236}">
                <a16:creationId xmlns:a16="http://schemas.microsoft.com/office/drawing/2014/main" id="{A2F85F0E-6716-6BB7-327E-848037ACEF74}"/>
              </a:ext>
            </a:extLst>
          </p:cNvPr>
          <p:cNvSpPr>
            <a:spLocks noGrp="1" noChangeAspect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Online Image Placeholder 9">
            <a:extLst>
              <a:ext uri="{FF2B5EF4-FFF2-40B4-BE49-F238E27FC236}">
                <a16:creationId xmlns:a16="http://schemas.microsoft.com/office/drawing/2014/main" id="{2C4BC777-9D4E-C7CA-3A3A-715BA4AE1BB3}"/>
              </a:ext>
            </a:extLst>
          </p:cNvPr>
          <p:cNvSpPr>
            <a:spLocks noGrp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1711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04">
          <p15:clr>
            <a:srgbClr val="FFC000"/>
          </p15:clr>
        </p15:guide>
        <p15:guide id="2" orient="horz" pos="1521">
          <p15:clr>
            <a:srgbClr val="FFC000"/>
          </p15:clr>
        </p15:guide>
        <p15:guide id="3" orient="horz" pos="1347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060BA6-1AFE-6EC1-D964-3568D124C7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9012CB-9309-1EF8-7AD0-F24DD6A5F5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338" y="2375159"/>
            <a:ext cx="5310187" cy="720000"/>
          </a:xfrm>
          <a:noFill/>
        </p:spPr>
        <p:txBody>
          <a:bodyPr anchor="t" anchorCtr="0"/>
          <a:lstStyle>
            <a:lvl1pPr algn="l">
              <a:lnSpc>
                <a:spcPct val="98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6B90887-ED35-5A20-7C9B-459ACC258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336" y="3024000"/>
            <a:ext cx="5310000" cy="1800000"/>
          </a:xfrm>
        </p:spPr>
        <p:txBody>
          <a:bodyPr tIns="259200"/>
          <a:lstStyle>
            <a:lvl1pPr marL="0" indent="0" algn="l">
              <a:spcAft>
                <a:spcPts val="1600"/>
              </a:spcAft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9C6DEC-DBDD-FC01-FA7E-98919C01D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096" y="283377"/>
            <a:ext cx="2305683" cy="30338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1BBB2-EB11-D2F5-8AC3-BBF9BB3D2A20}"/>
              </a:ext>
            </a:extLst>
          </p:cNvPr>
          <p:cNvCxnSpPr/>
          <p:nvPr/>
        </p:nvCxnSpPr>
        <p:spPr>
          <a:xfrm>
            <a:off x="287336" y="2093439"/>
            <a:ext cx="531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DB840ED-5D5E-5D88-FCF7-2D2ABA7BB0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315" y="6440208"/>
            <a:ext cx="1515600" cy="16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602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3839">
          <p15:clr>
            <a:srgbClr val="FFC000"/>
          </p15:clr>
        </p15:guide>
        <p15:guide id="4" orient="horz" pos="1495">
          <p15:clr>
            <a:srgbClr val="FFC000"/>
          </p15:clr>
        </p15:guide>
        <p15:guide id="5" pos="3525">
          <p15:clr>
            <a:srgbClr val="FFC000"/>
          </p15:clr>
        </p15:guide>
        <p15:guide id="6" pos="7500">
          <p15:clr>
            <a:srgbClr val="FFC000"/>
          </p15:clr>
        </p15:guide>
        <p15:guide id="7" pos="181">
          <p15:clr>
            <a:srgbClr val="FFC000"/>
          </p15:clr>
        </p15:guide>
        <p15:guide id="8" orient="horz" pos="4142">
          <p15:clr>
            <a:srgbClr val="FFC000"/>
          </p15:clr>
        </p15:guide>
        <p15:guide id="9" orient="horz" pos="169">
          <p15:clr>
            <a:srgbClr val="FFC00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Picture (3: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CA56C73-8105-7A0C-158A-DF385A8EB7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216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7999" y="1378800"/>
            <a:ext cx="863692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5010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99">
          <p15:clr>
            <a:srgbClr val="FFC000"/>
          </p15:clr>
        </p15:guide>
        <p15:guide id="2" pos="5625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200" y="1227600"/>
            <a:ext cx="5634000" cy="846000"/>
          </a:xfrm>
        </p:spPr>
        <p:txBody>
          <a:bodyPr anchor="b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EC3744-8767-F352-6BF4-168B27406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63393" y="2419200"/>
            <a:ext cx="5634000" cy="972000"/>
          </a:xfrm>
        </p:spPr>
        <p:txBody>
          <a:bodyPr tIns="72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buNone/>
              <a:defRPr sz="1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5000" b="0" kern="1200" spc="-500" baseline="0">
                <a:solidFill>
                  <a:schemeClr val="bg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5" name="Online Image Placeholder 9">
            <a:extLst>
              <a:ext uri="{FF2B5EF4-FFF2-40B4-BE49-F238E27FC236}">
                <a16:creationId xmlns:a16="http://schemas.microsoft.com/office/drawing/2014/main" id="{478C4D49-CEE0-F698-6BA8-FA0FCE38B3F9}"/>
              </a:ext>
            </a:extLst>
          </p:cNvPr>
          <p:cNvSpPr>
            <a:spLocks noGrp="1" noChangeAspect="1"/>
          </p:cNvSpPr>
          <p:nvPr>
            <p:ph type="clipArt" sz="quarter" idx="21" hasCustomPrompt="1"/>
          </p:nvPr>
        </p:nvSpPr>
        <p:spPr>
          <a:xfrm>
            <a:off x="288000" y="2228400"/>
            <a:ext cx="3679200" cy="25400"/>
          </a:xfrm>
          <a:solidFill>
            <a:srgbClr val="721833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7" name="Online Image Placeholder 9">
            <a:extLst>
              <a:ext uri="{FF2B5EF4-FFF2-40B4-BE49-F238E27FC236}">
                <a16:creationId xmlns:a16="http://schemas.microsoft.com/office/drawing/2014/main" id="{A376B192-2A46-822B-5534-30CCE0DDCD9F}"/>
              </a:ext>
            </a:extLst>
          </p:cNvPr>
          <p:cNvSpPr>
            <a:spLocks noGrp="1"/>
          </p:cNvSpPr>
          <p:nvPr>
            <p:ph type="clipArt" sz="quarter" idx="22" hasCustomPrompt="1"/>
          </p:nvPr>
        </p:nvSpPr>
        <p:spPr>
          <a:xfrm>
            <a:off x="10751366" y="2228400"/>
            <a:ext cx="1440634" cy="25200"/>
          </a:xfrm>
          <a:solidFill>
            <a:srgbClr val="721833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C732ECB-9388-8CA1-EB01-6E87A925AB1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265200" y="6450420"/>
            <a:ext cx="66564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FEBCB2A-7E50-4B55-C1F3-33448BAC5B2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2455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1">
          <p15:clr>
            <a:srgbClr val="FFC000"/>
          </p15:clr>
        </p15:guide>
        <p15:guide id="2" orient="horz" pos="1347">
          <p15:clr>
            <a:srgbClr val="FFC000"/>
          </p15:clr>
        </p15:guide>
        <p15:guide id="3" pos="1704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, Picture large">
    <p:bg>
      <p:bgPr>
        <a:solidFill>
          <a:srgbClr val="7218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>
            <a:extLst>
              <a:ext uri="{FF2B5EF4-FFF2-40B4-BE49-F238E27FC236}">
                <a16:creationId xmlns:a16="http://schemas.microsoft.com/office/drawing/2014/main" id="{DCEA1B8A-ACF1-3919-0C08-7E71980EBE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1376363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CF035E-3E24-71F2-ECCF-0FC3A9F69A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EFAE0E-A49B-4091-85D7-B91D0281AE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E0787F05-BFE0-BCD8-3023-E6D2DDA482BC}"/>
              </a:ext>
            </a:extLst>
          </p:cNvPr>
          <p:cNvSpPr>
            <a:spLocks noGrp="1" noChangeAspect="1"/>
          </p:cNvSpPr>
          <p:nvPr>
            <p:ph type="clipArt" sz="quarter" idx="20" hasCustomPrompt="1"/>
          </p:nvPr>
        </p:nvSpPr>
        <p:spPr>
          <a:xfrm>
            <a:off x="288000" y="10368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A7429042-57AB-06D1-342B-2011144DE143}"/>
              </a:ext>
            </a:extLst>
          </p:cNvPr>
          <p:cNvSpPr>
            <a:spLocks noGrp="1"/>
          </p:cNvSpPr>
          <p:nvPr>
            <p:ph type="clipArt" sz="quarter" idx="21" hasCustomPrompt="1"/>
          </p:nvPr>
        </p:nvSpPr>
        <p:spPr>
          <a:xfrm>
            <a:off x="10751366" y="10368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879761B-5C15-26D3-4E48-C9A8F18D168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70" y="1928174"/>
            <a:ext cx="2400300" cy="3060000"/>
          </a:xfrm>
        </p:spPr>
        <p:txBody>
          <a:bodyPr tIns="378000"/>
          <a:lstStyle>
            <a:lvl1pPr>
              <a:defRPr b="0"/>
            </a:lvl1pPr>
            <a:lvl2pPr>
              <a:spcAft>
                <a:spcPts val="1600"/>
              </a:spcAft>
              <a:defRPr/>
            </a:lvl2pPr>
            <a:lvl3pPr marL="0" indent="0">
              <a:buNone/>
              <a:defRPr/>
            </a:lvl3pPr>
            <a:lvl4pPr marL="270000" indent="-270000">
              <a:spcAft>
                <a:spcPts val="1600"/>
              </a:spcAft>
              <a:buFont typeface="Symbol" panose="05050102010706020507" pitchFamily="18" charset="2"/>
              <a:buChar char="-"/>
              <a:defRPr sz="1400" b="0"/>
            </a:lvl4pPr>
            <a:lvl5pPr marL="0" indent="0" algn="l">
              <a:spcAft>
                <a:spcPts val="600"/>
              </a:spcAft>
              <a:buNone/>
              <a:defRPr sz="1400" b="0"/>
            </a:lvl5pPr>
            <a:lvl6pPr marL="270000" indent="-270000" algn="l">
              <a:spcAft>
                <a:spcPts val="1600"/>
              </a:spcAft>
              <a:buFont typeface="Symbol" panose="05050102010706020507" pitchFamily="18" charset="2"/>
              <a:buChar char="-"/>
              <a:defRPr sz="1400" b="0"/>
            </a:lvl6pPr>
            <a:lvl7pPr marL="0" indent="0" algn="l">
              <a:lnSpc>
                <a:spcPct val="100000"/>
              </a:lnSpc>
              <a:spcAft>
                <a:spcPts val="600"/>
              </a:spcAft>
              <a:buNone/>
              <a:defRPr sz="1400" b="0"/>
            </a:lvl7pPr>
            <a:lvl8pPr marL="270000" indent="-270000" algn="l">
              <a:lnSpc>
                <a:spcPct val="100000"/>
              </a:lnSpc>
              <a:spcAft>
                <a:spcPts val="1600"/>
              </a:spcAft>
              <a:buFont typeface="Symbol" panose="05050102010706020507" pitchFamily="18" charset="2"/>
              <a:buChar char="-"/>
              <a:defRPr sz="1400"/>
            </a:lvl8pPr>
            <a:lvl9pPr>
              <a:lnSpc>
                <a:spcPct val="100000"/>
              </a:lnSpc>
              <a:spcAft>
                <a:spcPts val="6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2279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1696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ight">
    <p:bg>
      <p:bgPr>
        <a:solidFill>
          <a:srgbClr val="7218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</a:t>
            </a:r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BED2D7BF-9930-126A-5935-B520619010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942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ight, Lin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rgbClr val="7218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3" name="Grafik 10">
            <a:extLst>
              <a:ext uri="{FF2B5EF4-FFF2-40B4-BE49-F238E27FC236}">
                <a16:creationId xmlns:a16="http://schemas.microsoft.com/office/drawing/2014/main" id="{FC9AD835-EDF7-941C-5AC5-D89F9EE7FA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940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light, Lin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840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rk, Lin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7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7C8480-EFC8-037D-4492-0D1A3CE0AEF3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rgbClr val="7218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A0B6A31-3801-382C-595A-81D616D6F0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64D8672-5055-FE0F-0F41-09B11E1D86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0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pos="4981">
          <p15:clr>
            <a:srgbClr val="FFC000"/>
          </p15:clr>
        </p15:guide>
        <p15:guide id="3" orient="horz" pos="3957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, Picture">
    <p:bg>
      <p:bgPr>
        <a:solidFill>
          <a:srgbClr val="7218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10">
            <a:extLst>
              <a:ext uri="{FF2B5EF4-FFF2-40B4-BE49-F238E27FC236}">
                <a16:creationId xmlns:a16="http://schemas.microsoft.com/office/drawing/2014/main" id="{7FA45EF1-65E8-7C9F-0BDF-ED75C2AABE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50904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8000" y="1379538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8226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393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Background Grey 95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955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Blue 25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75BCEC29-2BC5-3234-39D0-FC2D17F5E4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072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DCBA62C2-C7B7-87CF-008A-31AD89387C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71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, Text (1: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CA56C73-8105-7A0C-158A-DF385A8EB7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8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66149" y="1378800"/>
            <a:ext cx="863692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8383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2055">
          <p15:clr>
            <a:srgbClr val="FFC000"/>
          </p15:clr>
        </p15:guide>
        <p15:guide id="4" pos="1873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dark">
    <p:bg>
      <p:bgPr>
        <a:solidFill>
          <a:srgbClr val="7218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505444E4-6B96-E182-C5E3-766A53CD51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736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3393">
          <p15:clr>
            <a:srgbClr val="FFC000"/>
          </p15:clr>
        </p15:guide>
        <p15:guide id="6" pos="7500">
          <p15:clr>
            <a:srgbClr val="FFC000"/>
          </p15:clr>
        </p15:guide>
        <p15:guide id="7" pos="181">
          <p15:clr>
            <a:srgbClr val="FFC000"/>
          </p15:clr>
        </p15:guide>
        <p15:guide id="8" orient="horz" pos="4142">
          <p15:clr>
            <a:srgbClr val="FFC000"/>
          </p15:clr>
        </p15:guide>
        <p15:guide id="9" orient="horz" pos="169">
          <p15:clr>
            <a:srgbClr val="FFC00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A56E249-7AEA-83D1-24C6-550B472E2D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8" y="1378800"/>
            <a:ext cx="11615737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0F317-4110-93B3-B9DE-2463263AF9C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73C78F-543D-0FE5-AC6D-97A58D2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A1648-417E-59AD-2CA3-D844E7D053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85483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6672" y="1378800"/>
            <a:ext cx="56700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6700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85B91D-4685-5F58-F0CF-68DFC8CADE2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B309E67-4CCB-C781-B73D-ABA1E30E8E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48114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pos="7500">
          <p15:clr>
            <a:srgbClr val="FFC000"/>
          </p15:clr>
        </p15:guide>
        <p15:guide id="4" pos="3912">
          <p15:clr>
            <a:srgbClr val="FFC000"/>
          </p15:clr>
        </p15:guide>
        <p15:guide id="5" pos="3767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39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F0F0774-A736-B58B-3457-888B317F237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00E0E6CC-1586-9C98-0538-5FE2A981A4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3684588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93B3071F-F438-DCFD-E005-F4E2F754048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16674" y="1378800"/>
            <a:ext cx="3686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9410BB89-0101-18E6-2EF2-6C91E8F158F7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260850" y="1378800"/>
            <a:ext cx="3686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F467332-8CFF-A83D-77AC-88AA3D45B7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350C5DF-5065-DC79-B6C0-C48D4B2C6C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82948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5158">
          <p15:clr>
            <a:srgbClr val="FFC000"/>
          </p15:clr>
        </p15:guide>
        <p15:guide id="4" pos="5015">
          <p15:clr>
            <a:srgbClr val="FFC000"/>
          </p15:clr>
        </p15:guide>
        <p15:guide id="5" pos="2677">
          <p15:clr>
            <a:srgbClr val="FFC000"/>
          </p15:clr>
        </p15:guide>
        <p15:guide id="6" pos="250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178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60CD936A-5C06-33D9-1B52-E475F551E9A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352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A3DA6D5A-A339-4B79-2219-AE17A229061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269938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7206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99">
          <p15:clr>
            <a:srgbClr val="FFC000"/>
          </p15:clr>
        </p15:guide>
        <p15:guide id="2" pos="5617">
          <p15:clr>
            <a:srgbClr val="FFC000"/>
          </p15:clr>
        </p15:guide>
        <p15:guide id="3" pos="3912">
          <p15:clr>
            <a:srgbClr val="FFC000"/>
          </p15:clr>
        </p15:guide>
        <p15:guide id="4" pos="3754">
          <p15:clr>
            <a:srgbClr val="FFC000"/>
          </p15:clr>
        </p15:guide>
        <p15:guide id="5" pos="2055">
          <p15:clr>
            <a:srgbClr val="FFC000"/>
          </p15:clr>
        </p15:guide>
        <p15:guide id="6" pos="1873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orient="horz" pos="3958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3: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CA56C73-8105-7A0C-158A-DF385A8EB7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216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7999" y="1378800"/>
            <a:ext cx="863692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4755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99">
          <p15:clr>
            <a:srgbClr val="FFC000"/>
          </p15:clr>
        </p15:guide>
        <p15:guide id="2" pos="5625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1: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CA56C73-8105-7A0C-158A-DF385A8EB7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8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66149" y="1378800"/>
            <a:ext cx="863692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4473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2055">
          <p15:clr>
            <a:srgbClr val="FFC000"/>
          </p15:clr>
        </p15:guide>
        <p15:guide id="4" pos="1873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2: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96E45D8-91E9-6F65-A257-0C6C537876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1732" y="1379538"/>
            <a:ext cx="5670418" cy="4903787"/>
          </a:xfrm>
          <a:custGeom>
            <a:avLst/>
            <a:gdLst>
              <a:gd name="connsiteX0" fmla="*/ 274367 w 5670418"/>
              <a:gd name="connsiteY0" fmla="*/ 0 h 4903787"/>
              <a:gd name="connsiteX1" fmla="*/ 5396975 w 5670418"/>
              <a:gd name="connsiteY1" fmla="*/ 0 h 4903787"/>
              <a:gd name="connsiteX2" fmla="*/ 5665768 w 5670418"/>
              <a:gd name="connsiteY2" fmla="*/ 219073 h 4903787"/>
              <a:gd name="connsiteX3" fmla="*/ 5670418 w 5670418"/>
              <a:gd name="connsiteY3" fmla="*/ 265202 h 4903787"/>
              <a:gd name="connsiteX4" fmla="*/ 5670418 w 5670418"/>
              <a:gd name="connsiteY4" fmla="*/ 4638586 h 4903787"/>
              <a:gd name="connsiteX5" fmla="*/ 5665768 w 5670418"/>
              <a:gd name="connsiteY5" fmla="*/ 4684715 h 4903787"/>
              <a:gd name="connsiteX6" fmla="*/ 5396975 w 5670418"/>
              <a:gd name="connsiteY6" fmla="*/ 4903787 h 4903787"/>
              <a:gd name="connsiteX7" fmla="*/ 274367 w 5670418"/>
              <a:gd name="connsiteY7" fmla="*/ 4903787 h 4903787"/>
              <a:gd name="connsiteX8" fmla="*/ 0 w 5670418"/>
              <a:gd name="connsiteY8" fmla="*/ 4629420 h 4903787"/>
              <a:gd name="connsiteX9" fmla="*/ 0 w 5670418"/>
              <a:gd name="connsiteY9" fmla="*/ 274367 h 4903787"/>
              <a:gd name="connsiteX10" fmla="*/ 274367 w 5670418"/>
              <a:gd name="connsiteY10" fmla="*/ 0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70418" h="4903787">
                <a:moveTo>
                  <a:pt x="274367" y="0"/>
                </a:moveTo>
                <a:lnTo>
                  <a:pt x="5396975" y="0"/>
                </a:lnTo>
                <a:cubicBezTo>
                  <a:pt x="5529563" y="0"/>
                  <a:pt x="5640184" y="94048"/>
                  <a:pt x="5665768" y="219073"/>
                </a:cubicBezTo>
                <a:lnTo>
                  <a:pt x="5670418" y="265202"/>
                </a:lnTo>
                <a:lnTo>
                  <a:pt x="5670418" y="4638586"/>
                </a:lnTo>
                <a:lnTo>
                  <a:pt x="5665768" y="4684715"/>
                </a:lnTo>
                <a:cubicBezTo>
                  <a:pt x="5640184" y="4809739"/>
                  <a:pt x="5529563" y="4903787"/>
                  <a:pt x="5396975" y="4903787"/>
                </a:cubicBezTo>
                <a:lnTo>
                  <a:pt x="274367" y="4903787"/>
                </a:lnTo>
                <a:cubicBezTo>
                  <a:pt x="122838" y="4903787"/>
                  <a:pt x="0" y="4780949"/>
                  <a:pt x="0" y="4629420"/>
                </a:cubicBezTo>
                <a:lnTo>
                  <a:pt x="0" y="274367"/>
                </a:lnTo>
                <a:cubicBezTo>
                  <a:pt x="0" y="122838"/>
                  <a:pt x="122838" y="0"/>
                  <a:pt x="27436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000" y="1378800"/>
            <a:ext cx="567147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1788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915">
          <p15:clr>
            <a:srgbClr val="FFC000"/>
          </p15:clr>
        </p15:guide>
        <p15:guide id="4" pos="376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2: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96E45D8-91E9-6F65-A257-0C6C537876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8000" y="1379538"/>
            <a:ext cx="5670418" cy="4903787"/>
          </a:xfrm>
          <a:custGeom>
            <a:avLst/>
            <a:gdLst>
              <a:gd name="connsiteX0" fmla="*/ 274367 w 5670418"/>
              <a:gd name="connsiteY0" fmla="*/ 0 h 4903787"/>
              <a:gd name="connsiteX1" fmla="*/ 5396975 w 5670418"/>
              <a:gd name="connsiteY1" fmla="*/ 0 h 4903787"/>
              <a:gd name="connsiteX2" fmla="*/ 5665768 w 5670418"/>
              <a:gd name="connsiteY2" fmla="*/ 219073 h 4903787"/>
              <a:gd name="connsiteX3" fmla="*/ 5670418 w 5670418"/>
              <a:gd name="connsiteY3" fmla="*/ 265202 h 4903787"/>
              <a:gd name="connsiteX4" fmla="*/ 5670418 w 5670418"/>
              <a:gd name="connsiteY4" fmla="*/ 4638586 h 4903787"/>
              <a:gd name="connsiteX5" fmla="*/ 5665768 w 5670418"/>
              <a:gd name="connsiteY5" fmla="*/ 4684715 h 4903787"/>
              <a:gd name="connsiteX6" fmla="*/ 5396975 w 5670418"/>
              <a:gd name="connsiteY6" fmla="*/ 4903787 h 4903787"/>
              <a:gd name="connsiteX7" fmla="*/ 274367 w 5670418"/>
              <a:gd name="connsiteY7" fmla="*/ 4903787 h 4903787"/>
              <a:gd name="connsiteX8" fmla="*/ 0 w 5670418"/>
              <a:gd name="connsiteY8" fmla="*/ 4629420 h 4903787"/>
              <a:gd name="connsiteX9" fmla="*/ 0 w 5670418"/>
              <a:gd name="connsiteY9" fmla="*/ 274367 h 4903787"/>
              <a:gd name="connsiteX10" fmla="*/ 274367 w 5670418"/>
              <a:gd name="connsiteY10" fmla="*/ 0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70418" h="4903787">
                <a:moveTo>
                  <a:pt x="274367" y="0"/>
                </a:moveTo>
                <a:lnTo>
                  <a:pt x="5396975" y="0"/>
                </a:lnTo>
                <a:cubicBezTo>
                  <a:pt x="5529563" y="0"/>
                  <a:pt x="5640184" y="94048"/>
                  <a:pt x="5665768" y="219073"/>
                </a:cubicBezTo>
                <a:lnTo>
                  <a:pt x="5670418" y="265202"/>
                </a:lnTo>
                <a:lnTo>
                  <a:pt x="5670418" y="4638586"/>
                </a:lnTo>
                <a:lnTo>
                  <a:pt x="5665768" y="4684715"/>
                </a:lnTo>
                <a:cubicBezTo>
                  <a:pt x="5640184" y="4809739"/>
                  <a:pt x="5529563" y="4903787"/>
                  <a:pt x="5396975" y="4903787"/>
                </a:cubicBezTo>
                <a:lnTo>
                  <a:pt x="274367" y="4903787"/>
                </a:lnTo>
                <a:cubicBezTo>
                  <a:pt x="122838" y="4903787"/>
                  <a:pt x="0" y="4780949"/>
                  <a:pt x="0" y="4629420"/>
                </a:cubicBezTo>
                <a:lnTo>
                  <a:pt x="0" y="274367"/>
                </a:lnTo>
                <a:cubicBezTo>
                  <a:pt x="0" y="122838"/>
                  <a:pt x="122838" y="0"/>
                  <a:pt x="27436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31600" y="1378800"/>
            <a:ext cx="567147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6525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915">
          <p15:clr>
            <a:srgbClr val="FFC000"/>
          </p15:clr>
        </p15:guide>
        <p15:guide id="4" pos="376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1: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0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9C72D0-9C75-B7FA-B88A-327B8440D37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65200" y="1379538"/>
            <a:ext cx="8637587" cy="4903049"/>
          </a:xfrm>
          <a:custGeom>
            <a:avLst/>
            <a:gdLst>
              <a:gd name="connsiteX0" fmla="*/ 267045 w 8637587"/>
              <a:gd name="connsiteY0" fmla="*/ 0 h 4903049"/>
              <a:gd name="connsiteX1" fmla="*/ 8370541 w 8637587"/>
              <a:gd name="connsiteY1" fmla="*/ 0 h 4903049"/>
              <a:gd name="connsiteX2" fmla="*/ 8418515 w 8637587"/>
              <a:gd name="connsiteY2" fmla="*/ 4836 h 4903049"/>
              <a:gd name="connsiteX3" fmla="*/ 8637587 w 8637587"/>
              <a:gd name="connsiteY3" fmla="*/ 273629 h 4903049"/>
              <a:gd name="connsiteX4" fmla="*/ 8637587 w 8637587"/>
              <a:gd name="connsiteY4" fmla="*/ 4628682 h 4903049"/>
              <a:gd name="connsiteX5" fmla="*/ 8363220 w 8637587"/>
              <a:gd name="connsiteY5" fmla="*/ 4903049 h 4903049"/>
              <a:gd name="connsiteX6" fmla="*/ 5396974 w 8637587"/>
              <a:gd name="connsiteY6" fmla="*/ 4903049 h 4903049"/>
              <a:gd name="connsiteX7" fmla="*/ 3240612 w 8637587"/>
              <a:gd name="connsiteY7" fmla="*/ 4903049 h 4903049"/>
              <a:gd name="connsiteX8" fmla="*/ 274366 w 8637587"/>
              <a:gd name="connsiteY8" fmla="*/ 4903049 h 4903049"/>
              <a:gd name="connsiteX9" fmla="*/ 21560 w 8637587"/>
              <a:gd name="connsiteY9" fmla="*/ 4735478 h 4903049"/>
              <a:gd name="connsiteX10" fmla="*/ 0 w 8637587"/>
              <a:gd name="connsiteY10" fmla="*/ 4628687 h 4903049"/>
              <a:gd name="connsiteX11" fmla="*/ 0 w 8637587"/>
              <a:gd name="connsiteY11" fmla="*/ 273625 h 4903049"/>
              <a:gd name="connsiteX12" fmla="*/ 21560 w 8637587"/>
              <a:gd name="connsiteY12" fmla="*/ 166833 h 4903049"/>
              <a:gd name="connsiteX13" fmla="*/ 219071 w 8637587"/>
              <a:gd name="connsiteY13" fmla="*/ 4836 h 490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37587" h="4903049">
                <a:moveTo>
                  <a:pt x="267045" y="0"/>
                </a:moveTo>
                <a:lnTo>
                  <a:pt x="8370541" y="0"/>
                </a:lnTo>
                <a:lnTo>
                  <a:pt x="8418515" y="4836"/>
                </a:lnTo>
                <a:cubicBezTo>
                  <a:pt x="8543539" y="30420"/>
                  <a:pt x="8637587" y="141041"/>
                  <a:pt x="8637587" y="273629"/>
                </a:cubicBezTo>
                <a:lnTo>
                  <a:pt x="8637587" y="4628682"/>
                </a:lnTo>
                <a:cubicBezTo>
                  <a:pt x="8637587" y="4780211"/>
                  <a:pt x="8514749" y="4903049"/>
                  <a:pt x="8363220" y="4903049"/>
                </a:cubicBezTo>
                <a:lnTo>
                  <a:pt x="5396974" y="4903049"/>
                </a:lnTo>
                <a:lnTo>
                  <a:pt x="3240612" y="4903049"/>
                </a:lnTo>
                <a:lnTo>
                  <a:pt x="274366" y="4903049"/>
                </a:lnTo>
                <a:cubicBezTo>
                  <a:pt x="160719" y="4903049"/>
                  <a:pt x="63211" y="4833953"/>
                  <a:pt x="21560" y="4735478"/>
                </a:cubicBezTo>
                <a:lnTo>
                  <a:pt x="0" y="4628687"/>
                </a:lnTo>
                <a:lnTo>
                  <a:pt x="0" y="273625"/>
                </a:lnTo>
                <a:lnTo>
                  <a:pt x="21560" y="166833"/>
                </a:lnTo>
                <a:cubicBezTo>
                  <a:pt x="56270" y="84771"/>
                  <a:pt x="129768" y="23110"/>
                  <a:pt x="219071" y="483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32857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2055">
          <p15:clr>
            <a:srgbClr val="FFC000"/>
          </p15:clr>
        </p15:guide>
        <p15:guide id="4" pos="1873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Picture (2: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96E45D8-91E9-6F65-A257-0C6C537876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1732" y="1379538"/>
            <a:ext cx="5670418" cy="4903787"/>
          </a:xfrm>
          <a:custGeom>
            <a:avLst/>
            <a:gdLst>
              <a:gd name="connsiteX0" fmla="*/ 274367 w 5670418"/>
              <a:gd name="connsiteY0" fmla="*/ 0 h 4903787"/>
              <a:gd name="connsiteX1" fmla="*/ 5396975 w 5670418"/>
              <a:gd name="connsiteY1" fmla="*/ 0 h 4903787"/>
              <a:gd name="connsiteX2" fmla="*/ 5665768 w 5670418"/>
              <a:gd name="connsiteY2" fmla="*/ 219073 h 4903787"/>
              <a:gd name="connsiteX3" fmla="*/ 5670418 w 5670418"/>
              <a:gd name="connsiteY3" fmla="*/ 265202 h 4903787"/>
              <a:gd name="connsiteX4" fmla="*/ 5670418 w 5670418"/>
              <a:gd name="connsiteY4" fmla="*/ 4638586 h 4903787"/>
              <a:gd name="connsiteX5" fmla="*/ 5665768 w 5670418"/>
              <a:gd name="connsiteY5" fmla="*/ 4684715 h 4903787"/>
              <a:gd name="connsiteX6" fmla="*/ 5396975 w 5670418"/>
              <a:gd name="connsiteY6" fmla="*/ 4903787 h 4903787"/>
              <a:gd name="connsiteX7" fmla="*/ 274367 w 5670418"/>
              <a:gd name="connsiteY7" fmla="*/ 4903787 h 4903787"/>
              <a:gd name="connsiteX8" fmla="*/ 0 w 5670418"/>
              <a:gd name="connsiteY8" fmla="*/ 4629420 h 4903787"/>
              <a:gd name="connsiteX9" fmla="*/ 0 w 5670418"/>
              <a:gd name="connsiteY9" fmla="*/ 274367 h 4903787"/>
              <a:gd name="connsiteX10" fmla="*/ 274367 w 5670418"/>
              <a:gd name="connsiteY10" fmla="*/ 0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70418" h="4903787">
                <a:moveTo>
                  <a:pt x="274367" y="0"/>
                </a:moveTo>
                <a:lnTo>
                  <a:pt x="5396975" y="0"/>
                </a:lnTo>
                <a:cubicBezTo>
                  <a:pt x="5529563" y="0"/>
                  <a:pt x="5640184" y="94048"/>
                  <a:pt x="5665768" y="219073"/>
                </a:cubicBezTo>
                <a:lnTo>
                  <a:pt x="5670418" y="265202"/>
                </a:lnTo>
                <a:lnTo>
                  <a:pt x="5670418" y="4638586"/>
                </a:lnTo>
                <a:lnTo>
                  <a:pt x="5665768" y="4684715"/>
                </a:lnTo>
                <a:cubicBezTo>
                  <a:pt x="5640184" y="4809739"/>
                  <a:pt x="5529563" y="4903787"/>
                  <a:pt x="5396975" y="4903787"/>
                </a:cubicBezTo>
                <a:lnTo>
                  <a:pt x="274367" y="4903787"/>
                </a:lnTo>
                <a:cubicBezTo>
                  <a:pt x="122838" y="4903787"/>
                  <a:pt x="0" y="4780949"/>
                  <a:pt x="0" y="4629420"/>
                </a:cubicBezTo>
                <a:lnTo>
                  <a:pt x="0" y="274367"/>
                </a:lnTo>
                <a:cubicBezTo>
                  <a:pt x="0" y="122838"/>
                  <a:pt x="122838" y="0"/>
                  <a:pt x="27436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000" y="1378800"/>
            <a:ext cx="567147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2278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915">
          <p15:clr>
            <a:srgbClr val="FFC000"/>
          </p15:clr>
        </p15:guide>
        <p15:guide id="4" pos="376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3: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196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EE23C52-6DAD-95DC-ED98-591B9334BBE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7338" y="1379538"/>
            <a:ext cx="8637587" cy="4903049"/>
          </a:xfrm>
          <a:custGeom>
            <a:avLst/>
            <a:gdLst>
              <a:gd name="connsiteX0" fmla="*/ 267045 w 8637587"/>
              <a:gd name="connsiteY0" fmla="*/ 0 h 4903049"/>
              <a:gd name="connsiteX1" fmla="*/ 8370541 w 8637587"/>
              <a:gd name="connsiteY1" fmla="*/ 0 h 4903049"/>
              <a:gd name="connsiteX2" fmla="*/ 8418515 w 8637587"/>
              <a:gd name="connsiteY2" fmla="*/ 4836 h 4903049"/>
              <a:gd name="connsiteX3" fmla="*/ 8637587 w 8637587"/>
              <a:gd name="connsiteY3" fmla="*/ 273629 h 4903049"/>
              <a:gd name="connsiteX4" fmla="*/ 8637587 w 8637587"/>
              <a:gd name="connsiteY4" fmla="*/ 4628682 h 4903049"/>
              <a:gd name="connsiteX5" fmla="*/ 8363220 w 8637587"/>
              <a:gd name="connsiteY5" fmla="*/ 4903049 h 4903049"/>
              <a:gd name="connsiteX6" fmla="*/ 5396974 w 8637587"/>
              <a:gd name="connsiteY6" fmla="*/ 4903049 h 4903049"/>
              <a:gd name="connsiteX7" fmla="*/ 3240612 w 8637587"/>
              <a:gd name="connsiteY7" fmla="*/ 4903049 h 4903049"/>
              <a:gd name="connsiteX8" fmla="*/ 274366 w 8637587"/>
              <a:gd name="connsiteY8" fmla="*/ 4903049 h 4903049"/>
              <a:gd name="connsiteX9" fmla="*/ 21560 w 8637587"/>
              <a:gd name="connsiteY9" fmla="*/ 4735478 h 4903049"/>
              <a:gd name="connsiteX10" fmla="*/ 0 w 8637587"/>
              <a:gd name="connsiteY10" fmla="*/ 4628687 h 4903049"/>
              <a:gd name="connsiteX11" fmla="*/ 0 w 8637587"/>
              <a:gd name="connsiteY11" fmla="*/ 273625 h 4903049"/>
              <a:gd name="connsiteX12" fmla="*/ 21560 w 8637587"/>
              <a:gd name="connsiteY12" fmla="*/ 166833 h 4903049"/>
              <a:gd name="connsiteX13" fmla="*/ 219071 w 8637587"/>
              <a:gd name="connsiteY13" fmla="*/ 4836 h 490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37587" h="4903049">
                <a:moveTo>
                  <a:pt x="267045" y="0"/>
                </a:moveTo>
                <a:lnTo>
                  <a:pt x="8370541" y="0"/>
                </a:lnTo>
                <a:lnTo>
                  <a:pt x="8418515" y="4836"/>
                </a:lnTo>
                <a:cubicBezTo>
                  <a:pt x="8543539" y="30420"/>
                  <a:pt x="8637587" y="141041"/>
                  <a:pt x="8637587" y="273629"/>
                </a:cubicBezTo>
                <a:lnTo>
                  <a:pt x="8637587" y="4628682"/>
                </a:lnTo>
                <a:cubicBezTo>
                  <a:pt x="8637587" y="4780211"/>
                  <a:pt x="8514749" y="4903049"/>
                  <a:pt x="8363220" y="4903049"/>
                </a:cubicBezTo>
                <a:lnTo>
                  <a:pt x="5396974" y="4903049"/>
                </a:lnTo>
                <a:lnTo>
                  <a:pt x="3240612" y="4903049"/>
                </a:lnTo>
                <a:lnTo>
                  <a:pt x="274366" y="4903049"/>
                </a:lnTo>
                <a:cubicBezTo>
                  <a:pt x="160719" y="4903049"/>
                  <a:pt x="63211" y="4833953"/>
                  <a:pt x="21560" y="4735478"/>
                </a:cubicBezTo>
                <a:lnTo>
                  <a:pt x="0" y="4628687"/>
                </a:lnTo>
                <a:lnTo>
                  <a:pt x="0" y="273625"/>
                </a:lnTo>
                <a:lnTo>
                  <a:pt x="21560" y="166833"/>
                </a:lnTo>
                <a:cubicBezTo>
                  <a:pt x="56270" y="84771"/>
                  <a:pt x="129768" y="23110"/>
                  <a:pt x="219071" y="483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77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08">
          <p15:clr>
            <a:srgbClr val="FFC000"/>
          </p15:clr>
        </p15:guide>
        <p15:guide id="2" pos="5627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full widt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4F0F322-EA25-ACAE-609C-DC51DE7031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7" y="1378800"/>
            <a:ext cx="11615736" cy="4903787"/>
          </a:xfrm>
          <a:custGeom>
            <a:avLst/>
            <a:gdLst>
              <a:gd name="connsiteX0" fmla="*/ 3245194 w 11615736"/>
              <a:gd name="connsiteY0" fmla="*/ 0 h 4903787"/>
              <a:gd name="connsiteX1" fmla="*/ 11348690 w 11615736"/>
              <a:gd name="connsiteY1" fmla="*/ 0 h 4903787"/>
              <a:gd name="connsiteX2" fmla="*/ 11396664 w 11615736"/>
              <a:gd name="connsiteY2" fmla="*/ 4836 h 4903787"/>
              <a:gd name="connsiteX3" fmla="*/ 11615736 w 11615736"/>
              <a:gd name="connsiteY3" fmla="*/ 273629 h 4903787"/>
              <a:gd name="connsiteX4" fmla="*/ 11615736 w 11615736"/>
              <a:gd name="connsiteY4" fmla="*/ 4628682 h 4903787"/>
              <a:gd name="connsiteX5" fmla="*/ 11341369 w 11615736"/>
              <a:gd name="connsiteY5" fmla="*/ 4903049 h 4903787"/>
              <a:gd name="connsiteX6" fmla="*/ 8375123 w 11615736"/>
              <a:gd name="connsiteY6" fmla="*/ 4903049 h 4903787"/>
              <a:gd name="connsiteX7" fmla="*/ 8370541 w 11615736"/>
              <a:gd name="connsiteY7" fmla="*/ 4903049 h 4903787"/>
              <a:gd name="connsiteX8" fmla="*/ 8363220 w 11615736"/>
              <a:gd name="connsiteY8" fmla="*/ 4903787 h 4903787"/>
              <a:gd name="connsiteX9" fmla="*/ 5396974 w 11615736"/>
              <a:gd name="connsiteY9" fmla="*/ 4903787 h 4903787"/>
              <a:gd name="connsiteX10" fmla="*/ 3240612 w 11615736"/>
              <a:gd name="connsiteY10" fmla="*/ 4903787 h 4903787"/>
              <a:gd name="connsiteX11" fmla="*/ 274366 w 11615736"/>
              <a:gd name="connsiteY11" fmla="*/ 4903787 h 4903787"/>
              <a:gd name="connsiteX12" fmla="*/ 21560 w 11615736"/>
              <a:gd name="connsiteY12" fmla="*/ 4736216 h 4903787"/>
              <a:gd name="connsiteX13" fmla="*/ 0 w 11615736"/>
              <a:gd name="connsiteY13" fmla="*/ 4629425 h 4903787"/>
              <a:gd name="connsiteX14" fmla="*/ 0 w 11615736"/>
              <a:gd name="connsiteY14" fmla="*/ 274363 h 4903787"/>
              <a:gd name="connsiteX15" fmla="*/ 21560 w 11615736"/>
              <a:gd name="connsiteY15" fmla="*/ 167571 h 4903787"/>
              <a:gd name="connsiteX16" fmla="*/ 219071 w 11615736"/>
              <a:gd name="connsiteY16" fmla="*/ 5574 h 4903787"/>
              <a:gd name="connsiteX17" fmla="*/ 267045 w 11615736"/>
              <a:gd name="connsiteY17" fmla="*/ 738 h 4903787"/>
              <a:gd name="connsiteX18" fmla="*/ 3237874 w 11615736"/>
              <a:gd name="connsiteY18" fmla="*/ 738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615736" h="4903787">
                <a:moveTo>
                  <a:pt x="3245194" y="0"/>
                </a:moveTo>
                <a:lnTo>
                  <a:pt x="11348690" y="0"/>
                </a:lnTo>
                <a:lnTo>
                  <a:pt x="11396664" y="4836"/>
                </a:lnTo>
                <a:cubicBezTo>
                  <a:pt x="11521688" y="30420"/>
                  <a:pt x="11615736" y="141041"/>
                  <a:pt x="11615736" y="273629"/>
                </a:cubicBezTo>
                <a:lnTo>
                  <a:pt x="11615736" y="4628682"/>
                </a:lnTo>
                <a:cubicBezTo>
                  <a:pt x="11615736" y="4780211"/>
                  <a:pt x="11492898" y="4903049"/>
                  <a:pt x="11341369" y="4903049"/>
                </a:cubicBezTo>
                <a:lnTo>
                  <a:pt x="8375123" y="4903049"/>
                </a:lnTo>
                <a:lnTo>
                  <a:pt x="8370541" y="4903049"/>
                </a:lnTo>
                <a:lnTo>
                  <a:pt x="8363220" y="4903787"/>
                </a:lnTo>
                <a:lnTo>
                  <a:pt x="5396974" y="4903787"/>
                </a:lnTo>
                <a:lnTo>
                  <a:pt x="3240612" y="4903787"/>
                </a:lnTo>
                <a:lnTo>
                  <a:pt x="274366" y="4903787"/>
                </a:lnTo>
                <a:cubicBezTo>
                  <a:pt x="160719" y="4903787"/>
                  <a:pt x="63211" y="4834691"/>
                  <a:pt x="21560" y="4736216"/>
                </a:cubicBezTo>
                <a:lnTo>
                  <a:pt x="0" y="4629425"/>
                </a:lnTo>
                <a:lnTo>
                  <a:pt x="0" y="274363"/>
                </a:lnTo>
                <a:lnTo>
                  <a:pt x="21560" y="167571"/>
                </a:lnTo>
                <a:cubicBezTo>
                  <a:pt x="56270" y="85509"/>
                  <a:pt x="129768" y="23848"/>
                  <a:pt x="219071" y="5574"/>
                </a:cubicBezTo>
                <a:lnTo>
                  <a:pt x="267045" y="738"/>
                </a:lnTo>
                <a:lnTo>
                  <a:pt x="3237874" y="7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72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9AFD43-5FF5-07CF-598F-C6154BEE6A9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267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9">
          <p15:clr>
            <a:srgbClr val="FFC000"/>
          </p15:clr>
        </p15:guide>
        <p15:guide id="2" pos="2503">
          <p15:clr>
            <a:srgbClr val="FFC000"/>
          </p15:clr>
        </p15:guide>
        <p15:guide id="3" pos="2071">
          <p15:clr>
            <a:srgbClr val="FFC000"/>
          </p15:clr>
        </p15:guide>
        <p15:guide id="4" pos="1891">
          <p15:clr>
            <a:srgbClr val="FFC000"/>
          </p15:clr>
        </p15:guide>
        <p15:guide id="5" pos="1436">
          <p15:clr>
            <a:srgbClr val="FFC000"/>
          </p15:clr>
        </p15:guide>
        <p15:guide id="6" pos="1255">
          <p15:clr>
            <a:srgbClr val="FFC000"/>
          </p15:clr>
        </p15:guide>
        <p15:guide id="7" pos="804">
          <p15:clr>
            <a:srgbClr val="FFC000"/>
          </p15:clr>
        </p15:guide>
        <p15:guide id="8" pos="620">
          <p15:clr>
            <a:srgbClr val="FFC000"/>
          </p15:clr>
        </p15:guide>
        <p15:guide id="9" pos="181">
          <p15:clr>
            <a:srgbClr val="FFC000"/>
          </p15:clr>
        </p15:guide>
        <p15:guide id="10" pos="2684">
          <p15:clr>
            <a:srgbClr val="FFC000"/>
          </p15:clr>
        </p15:guide>
        <p15:guide id="11" pos="3295">
          <p15:clr>
            <a:srgbClr val="FFC000"/>
          </p15:clr>
        </p15:guide>
        <p15:guide id="12" pos="3113">
          <p15:clr>
            <a:srgbClr val="FFC000"/>
          </p15:clr>
        </p15:guide>
        <p15:guide id="13" pos="3751">
          <p15:clr>
            <a:srgbClr val="FFC000"/>
          </p15:clr>
        </p15:guide>
        <p15:guide id="14" pos="7061">
          <p15:clr>
            <a:srgbClr val="FFC000"/>
          </p15:clr>
        </p15:guide>
        <p15:guide id="15" pos="6901">
          <p15:clr>
            <a:srgbClr val="FFC000"/>
          </p15:clr>
        </p15:guide>
        <p15:guide id="16" pos="6449">
          <p15:clr>
            <a:srgbClr val="FFC000"/>
          </p15:clr>
        </p15:guide>
        <p15:guide id="17" pos="6269">
          <p15:clr>
            <a:srgbClr val="FFC000"/>
          </p15:clr>
        </p15:guide>
        <p15:guide id="18" pos="5816">
          <p15:clr>
            <a:srgbClr val="FFC000"/>
          </p15:clr>
        </p15:guide>
        <p15:guide id="19" pos="5634">
          <p15:clr>
            <a:srgbClr val="FFC000"/>
          </p15:clr>
        </p15:guide>
        <p15:guide id="20" pos="5178">
          <p15:clr>
            <a:srgbClr val="FFC000"/>
          </p15:clr>
        </p15:guide>
        <p15:guide id="21" pos="4998">
          <p15:clr>
            <a:srgbClr val="FFC000"/>
          </p15:clr>
        </p15:guide>
        <p15:guide id="22" pos="4544">
          <p15:clr>
            <a:srgbClr val="FFC000"/>
          </p15:clr>
        </p15:guide>
        <p15:guide id="23" pos="4385">
          <p15:clr>
            <a:srgbClr val="FFC000"/>
          </p15:clr>
        </p15:guide>
        <p15:guide id="24" pos="3931">
          <p15:clr>
            <a:srgbClr val="FFC000"/>
          </p15:clr>
        </p15:guide>
        <p15:guide id="25" orient="horz" pos="4141">
          <p15:clr>
            <a:srgbClr val="FFC000"/>
          </p15:clr>
        </p15:guide>
        <p15:guide id="26" orient="horz" pos="3962">
          <p15:clr>
            <a:srgbClr val="FFC000"/>
          </p15:clr>
        </p15:guide>
        <p15:guide id="27" orient="horz" pos="166">
          <p15:clr>
            <a:srgbClr val="FFC00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BC6E3AB-0636-57B2-4C36-AC798D6B06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0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5A7C009-966B-009A-E119-D98EDBB960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0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FCEF823-670B-2AD2-6E20-55B1F88A48E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688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B4FBDE2-69A3-83BC-90B8-D68A711F9E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352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070E2F6E-F2A4-9A59-115B-08EEEAF78B0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96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93BBFB66-7482-7164-A64A-968F6356FA5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270275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31F66869-8715-1AC4-BB36-53CF23C5B2E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352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C197165B-607C-959F-F199-34120D43467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2196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1316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5806">
          <p15:clr>
            <a:srgbClr val="FFC000"/>
          </p15:clr>
        </p15:guide>
        <p15:guide id="4" pos="5617">
          <p15:clr>
            <a:srgbClr val="FFC000"/>
          </p15:clr>
        </p15:guide>
        <p15:guide id="5" pos="3912">
          <p15:clr>
            <a:srgbClr val="FFC000"/>
          </p15:clr>
        </p15:guide>
        <p15:guide id="6" pos="3754">
          <p15:clr>
            <a:srgbClr val="FFC000"/>
          </p15:clr>
        </p15:guide>
        <p15:guide id="7" pos="2055">
          <p15:clr>
            <a:srgbClr val="FFC000"/>
          </p15:clr>
        </p15:guide>
        <p15:guide id="8" pos="1873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s with Depos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C1E507DF-D53B-3BE4-1A00-07C74C890A5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/>
            </a:lvl1pPr>
            <a:lvl2pPr marL="0" indent="0" algn="ctr">
              <a:spcAft>
                <a:spcPts val="600"/>
              </a:spcAft>
              <a:buNone/>
              <a:defRPr sz="2000" b="1"/>
            </a:lvl2pPr>
            <a:lvl3pPr marL="0" indent="0" algn="ctr">
              <a:spcAft>
                <a:spcPts val="600"/>
              </a:spcAft>
              <a:buNone/>
              <a:defRPr sz="3000" b="0"/>
            </a:lvl3pPr>
            <a:lvl4pPr marL="0" indent="0" algn="ctr">
              <a:spcAft>
                <a:spcPts val="600"/>
              </a:spcAft>
              <a:buNone/>
              <a:defRPr sz="4800"/>
            </a:lvl4pPr>
            <a:lvl5pPr>
              <a:spcAft>
                <a:spcPts val="600"/>
              </a:spcAft>
              <a:defRPr sz="1400"/>
            </a:lvl5pPr>
            <a:lvl6pPr>
              <a:spcAft>
                <a:spcPts val="600"/>
              </a:spcAft>
              <a:defRPr sz="1400"/>
            </a:lvl6pPr>
            <a:lvl7pPr>
              <a:spcAft>
                <a:spcPts val="600"/>
              </a:spcAft>
              <a:defRPr sz="1400"/>
            </a:lvl7pPr>
            <a:lvl8pPr>
              <a:spcAft>
                <a:spcPts val="600"/>
              </a:spcAft>
              <a:defRPr sz="14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81DD2EF-6E62-0069-4582-4CFA7F89136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88000" y="3968525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DAA20D63-B477-B8C1-E93C-EFEB50581D3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231600" y="1378800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B8735F24-7570-5F03-F59D-0B5175E0FC1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688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FFC6D0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rgbClr val="721833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rgbClr val="721833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rgbClr val="721833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rgbClr val="721833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rgbClr val="721833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rgbClr val="721833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rgbClr val="721833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rgbClr val="721833"/>
                </a:solidFill>
              </a:defRPr>
            </a:lvl8pPr>
            <a:lvl9pPr>
              <a:defRPr>
                <a:solidFill>
                  <a:srgbClr val="72183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0E93F332-4FA1-F307-866F-643689147FF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216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F1F1F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/>
            </a:lvl1pPr>
            <a:lvl2pPr marL="0" indent="0" algn="ctr">
              <a:spcAft>
                <a:spcPts val="600"/>
              </a:spcAft>
              <a:buNone/>
              <a:defRPr sz="2000" b="1"/>
            </a:lvl2pPr>
            <a:lvl3pPr marL="0" indent="0" algn="ctr">
              <a:spcAft>
                <a:spcPts val="600"/>
              </a:spcAft>
              <a:buNone/>
              <a:defRPr sz="3000" b="0"/>
            </a:lvl3pPr>
            <a:lvl4pPr marL="0" indent="0" algn="ctr">
              <a:spcAft>
                <a:spcPts val="600"/>
              </a:spcAft>
              <a:buNone/>
              <a:defRPr sz="4800"/>
            </a:lvl4pPr>
            <a:lvl5pPr>
              <a:spcAft>
                <a:spcPts val="600"/>
              </a:spcAft>
              <a:defRPr sz="1400"/>
            </a:lvl5pPr>
            <a:lvl6pPr>
              <a:spcAft>
                <a:spcPts val="600"/>
              </a:spcAft>
              <a:defRPr sz="1400"/>
            </a:lvl6pPr>
            <a:lvl7pPr>
              <a:spcAft>
                <a:spcPts val="600"/>
              </a:spcAft>
              <a:defRPr sz="1400"/>
            </a:lvl7pPr>
            <a:lvl8pPr>
              <a:spcAft>
                <a:spcPts val="600"/>
              </a:spcAft>
              <a:defRPr sz="14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70C187E0-20D0-F7FF-79B9-F04FD6912A4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2688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721833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1BC731CC-642E-FB66-5FD0-1285316114E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2160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83C8507-E210-DECE-2D86-30260E35228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231600" y="3968525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81542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9">
          <p15:clr>
            <a:srgbClr val="FFC000"/>
          </p15:clr>
        </p15:guide>
        <p15:guide id="2" orient="horz" pos="2497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5799">
          <p15:clr>
            <a:srgbClr val="FFC000"/>
          </p15:clr>
        </p15:guide>
        <p15:guide id="6" pos="5617">
          <p15:clr>
            <a:srgbClr val="FFC000"/>
          </p15:clr>
        </p15:guide>
        <p15:guide id="7" pos="3912">
          <p15:clr>
            <a:srgbClr val="FFC000"/>
          </p15:clr>
        </p15:guide>
        <p15:guide id="8" pos="3754">
          <p15:clr>
            <a:srgbClr val="FFC000"/>
          </p15:clr>
        </p15:guide>
        <p15:guide id="9" pos="2055">
          <p15:clr>
            <a:srgbClr val="FFC000"/>
          </p15:clr>
        </p15:guide>
        <p15:guide id="10" pos="1873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different Contents with Depos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87EB98-B074-7A44-75A0-1471BA240A4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88001" y="1379538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9EE9B09-12C0-5733-2DA6-5E041426680E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268800" y="1378800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732F8AC-AEB3-A27F-8C44-736695E49607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231600" y="1378800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A1AC30F5-0F2F-BFF5-D1BA-25A2F146EDF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216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721833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03FA84C-056A-53BE-456B-CCD449F5A7D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2160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721833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0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84754BB6-3C5A-A7FC-96F2-0712A88702E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880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E974E1D0-D962-84A4-9F54-83801EF3D47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2688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tx2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tx2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tx2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tx2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tx2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tx2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6BCC89B-09E3-E8EB-D377-C04935A26673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316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40227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9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orient="horz" pos="2497">
          <p15:clr>
            <a:srgbClr val="FFC000"/>
          </p15:clr>
        </p15:guide>
        <p15:guide id="5" pos="5799">
          <p15:clr>
            <a:srgbClr val="FFC000"/>
          </p15:clr>
        </p15:guide>
        <p15:guide id="6" pos="5617">
          <p15:clr>
            <a:srgbClr val="FFC000"/>
          </p15:clr>
        </p15:guide>
        <p15:guide id="7" pos="3912">
          <p15:clr>
            <a:srgbClr val="FFC000"/>
          </p15:clr>
        </p15:guide>
        <p15:guide id="8" pos="3754">
          <p15:clr>
            <a:srgbClr val="FFC000"/>
          </p15:clr>
        </p15:guide>
        <p15:guide id="9" pos="2055">
          <p15:clr>
            <a:srgbClr val="FFC000"/>
          </p15:clr>
        </p15:guide>
        <p15:guide id="10" pos="1873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rge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83528461-6E55-5C10-2CBB-BE461203F371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287335" y="212400"/>
            <a:ext cx="8567739" cy="6073775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B581DD6D-83FF-0267-E76E-43ED8CE245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635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4">
          <p15:clr>
            <a:srgbClr val="FFC000"/>
          </p15:clr>
        </p15:guide>
        <p15:guide id="2" pos="5176">
          <p15:clr>
            <a:srgbClr val="FFC000"/>
          </p15:clr>
        </p15:guide>
        <p15:guide id="3" pos="5585">
          <p15:clr>
            <a:srgbClr val="FFC000"/>
          </p15:clr>
        </p15:guide>
        <p15:guide id="4" orient="horz" pos="3958">
          <p15:clr>
            <a:srgbClr val="FFC000"/>
          </p15:clr>
        </p15:guide>
        <p15:guide id="5" orient="horz" pos="865">
          <p15:clr>
            <a:srgbClr val="FFC000"/>
          </p15:clr>
        </p15:guide>
        <p15:guide id="6" pos="5762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rge dark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83528461-6E55-5C10-2CBB-BE461203F371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287338" y="212400"/>
            <a:ext cx="8568000" cy="6073775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CAC3FDC3-BFBF-F503-C15E-859DD8CB74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  <a:solidFill>
            <a:srgbClr val="721833"/>
          </a:solidFill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378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4">
          <p15:clr>
            <a:srgbClr val="FFC000"/>
          </p15:clr>
        </p15:guide>
        <p15:guide id="2" pos="5176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5585">
          <p15:clr>
            <a:srgbClr val="FFC000"/>
          </p15:clr>
        </p15:guide>
        <p15:guide id="6" pos="5762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mall light">
    <p:bg>
      <p:bgPr>
        <a:solidFill>
          <a:srgbClr val="7218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9" name="Table Placeholder 14">
            <a:extLst>
              <a:ext uri="{FF2B5EF4-FFF2-40B4-BE49-F238E27FC236}">
                <a16:creationId xmlns:a16="http://schemas.microsoft.com/office/drawing/2014/main" id="{7BE4ABD4-8A17-D127-FE2B-06483E4EF321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287338" y="212400"/>
            <a:ext cx="5356225" cy="6073775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16741C30-F2D2-5A43-164C-4D6DA6BFA2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33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pos="3556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sub-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0F317-4110-93B3-B9DE-2463263AF9C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73C78F-543D-0FE5-AC6D-97A58D2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A1648-417E-59AD-2CA3-D844E7D053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2" name="Table Placeholder 11">
            <a:extLst>
              <a:ext uri="{FF2B5EF4-FFF2-40B4-BE49-F238E27FC236}">
                <a16:creationId xmlns:a16="http://schemas.microsoft.com/office/drawing/2014/main" id="{19E379EB-7AC3-7232-E7ED-82AAD359758C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287338" y="1378800"/>
            <a:ext cx="11617200" cy="49032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070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, Text (2: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96E45D8-91E9-6F65-A257-0C6C537876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8000" y="1379538"/>
            <a:ext cx="5670418" cy="4903787"/>
          </a:xfrm>
          <a:custGeom>
            <a:avLst/>
            <a:gdLst>
              <a:gd name="connsiteX0" fmla="*/ 274367 w 5670418"/>
              <a:gd name="connsiteY0" fmla="*/ 0 h 4903787"/>
              <a:gd name="connsiteX1" fmla="*/ 5396975 w 5670418"/>
              <a:gd name="connsiteY1" fmla="*/ 0 h 4903787"/>
              <a:gd name="connsiteX2" fmla="*/ 5665768 w 5670418"/>
              <a:gd name="connsiteY2" fmla="*/ 219073 h 4903787"/>
              <a:gd name="connsiteX3" fmla="*/ 5670418 w 5670418"/>
              <a:gd name="connsiteY3" fmla="*/ 265202 h 4903787"/>
              <a:gd name="connsiteX4" fmla="*/ 5670418 w 5670418"/>
              <a:gd name="connsiteY4" fmla="*/ 4638586 h 4903787"/>
              <a:gd name="connsiteX5" fmla="*/ 5665768 w 5670418"/>
              <a:gd name="connsiteY5" fmla="*/ 4684715 h 4903787"/>
              <a:gd name="connsiteX6" fmla="*/ 5396975 w 5670418"/>
              <a:gd name="connsiteY6" fmla="*/ 4903787 h 4903787"/>
              <a:gd name="connsiteX7" fmla="*/ 274367 w 5670418"/>
              <a:gd name="connsiteY7" fmla="*/ 4903787 h 4903787"/>
              <a:gd name="connsiteX8" fmla="*/ 0 w 5670418"/>
              <a:gd name="connsiteY8" fmla="*/ 4629420 h 4903787"/>
              <a:gd name="connsiteX9" fmla="*/ 0 w 5670418"/>
              <a:gd name="connsiteY9" fmla="*/ 274367 h 4903787"/>
              <a:gd name="connsiteX10" fmla="*/ 274367 w 5670418"/>
              <a:gd name="connsiteY10" fmla="*/ 0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70418" h="4903787">
                <a:moveTo>
                  <a:pt x="274367" y="0"/>
                </a:moveTo>
                <a:lnTo>
                  <a:pt x="5396975" y="0"/>
                </a:lnTo>
                <a:cubicBezTo>
                  <a:pt x="5529563" y="0"/>
                  <a:pt x="5640184" y="94048"/>
                  <a:pt x="5665768" y="219073"/>
                </a:cubicBezTo>
                <a:lnTo>
                  <a:pt x="5670418" y="265202"/>
                </a:lnTo>
                <a:lnTo>
                  <a:pt x="5670418" y="4638586"/>
                </a:lnTo>
                <a:lnTo>
                  <a:pt x="5665768" y="4684715"/>
                </a:lnTo>
                <a:cubicBezTo>
                  <a:pt x="5640184" y="4809739"/>
                  <a:pt x="5529563" y="4903787"/>
                  <a:pt x="5396975" y="4903787"/>
                </a:cubicBezTo>
                <a:lnTo>
                  <a:pt x="274367" y="4903787"/>
                </a:lnTo>
                <a:cubicBezTo>
                  <a:pt x="122838" y="4903787"/>
                  <a:pt x="0" y="4780949"/>
                  <a:pt x="0" y="4629420"/>
                </a:cubicBezTo>
                <a:lnTo>
                  <a:pt x="0" y="274367"/>
                </a:lnTo>
                <a:cubicBezTo>
                  <a:pt x="0" y="122838"/>
                  <a:pt x="122838" y="0"/>
                  <a:pt x="27436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31600" y="1378800"/>
            <a:ext cx="567147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6598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915">
          <p15:clr>
            <a:srgbClr val="FFC000"/>
          </p15:clr>
        </p15:guide>
        <p15:guide id="4" pos="376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mall light, Logo neg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49018480-D069-72D4-6596-EE4F496671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116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95">
          <p15:clr>
            <a:srgbClr val="FFC000"/>
          </p15:clr>
        </p15:guide>
        <p15:guide id="2" pos="871">
          <p15:clr>
            <a:srgbClr val="FFC000"/>
          </p15:clr>
        </p15:guide>
        <p15:guide id="3" orient="horz" pos="2904">
          <p15:clr>
            <a:srgbClr val="FFC000"/>
          </p15:clr>
        </p15:guide>
        <p15:guide id="4" orient="horz" pos="1898">
          <p15:clr>
            <a:srgbClr val="FFC000"/>
          </p15:clr>
        </p15:guide>
        <p15:guide id="5" orient="horz" pos="906">
          <p15:clr>
            <a:srgbClr val="FFC000"/>
          </p15:clr>
        </p15:guide>
        <p15:guide id="6" orient="horz" pos="3958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pos="7500">
          <p15:clr>
            <a:srgbClr val="FFC000"/>
          </p15:clr>
        </p15:guide>
        <p15:guide id="9" pos="181">
          <p15:clr>
            <a:srgbClr val="FFC000"/>
          </p15:clr>
        </p15:guide>
        <p15:guide id="10" orient="horz" pos="4142">
          <p15:clr>
            <a:srgbClr val="FFC000"/>
          </p15:clr>
        </p15:guide>
        <p15:guide id="11" orient="horz" pos="169">
          <p15:clr>
            <a:srgbClr val="FFC00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mall light, Logo po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7254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4">
          <p15:clr>
            <a:srgbClr val="FFC000"/>
          </p15:clr>
        </p15:guide>
        <p15:guide id="2" orient="horz" pos="1898">
          <p15:clr>
            <a:srgbClr val="FFC000"/>
          </p15:clr>
        </p15:guide>
        <p15:guide id="3" orient="horz" pos="906">
          <p15:clr>
            <a:srgbClr val="FFC000"/>
          </p15:clr>
        </p15:guide>
        <p15:guide id="4" orient="horz" pos="3958">
          <p15:clr>
            <a:srgbClr val="FFC000"/>
          </p15:clr>
        </p15:guide>
        <p15:guide id="5" orient="horz" pos="865">
          <p15:clr>
            <a:srgbClr val="FFC000"/>
          </p15:clr>
        </p15:guide>
        <p15:guide id="6" pos="873">
          <p15:clr>
            <a:srgbClr val="FFC000"/>
          </p15:clr>
        </p15:guide>
        <p15:guide id="7" pos="3393">
          <p15:clr>
            <a:srgbClr val="FFC000"/>
          </p15:clr>
        </p15:guide>
        <p15:guide id="8" pos="7500">
          <p15:clr>
            <a:srgbClr val="FFC000"/>
          </p15:clr>
        </p15:guide>
        <p15:guide id="9" pos="181">
          <p15:clr>
            <a:srgbClr val="FFC000"/>
          </p15:clr>
        </p15:guide>
        <p15:guide id="10" orient="horz" pos="4142">
          <p15:clr>
            <a:srgbClr val="FFC000"/>
          </p15:clr>
        </p15:guide>
        <p15:guide id="11" orient="horz" pos="169">
          <p15:clr>
            <a:srgbClr val="FFC00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C9466D7-7026-11D5-2238-B3F59D15C2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6" y="272485"/>
            <a:ext cx="7669213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8F17C3B9-E8D0-267E-7146-1E9673361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76759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7E9B2076-03CD-8440-CDC8-1DA0E2603DEC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476618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CED04CBA-DE01-EE53-BB6F-07F996F8A4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78483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58DA222D-C25A-D45A-7FCE-85430FF2839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76883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4CE00001-8D51-75EC-4465-EED81474FE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8483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403703E-D04C-61D4-A8F8-131F1E60712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476883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7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7">
          <p15:clr>
            <a:srgbClr val="FFC000"/>
          </p15:clr>
        </p15:guide>
        <p15:guide id="2" pos="2373">
          <p15:clr>
            <a:srgbClr val="FFC000"/>
          </p15:clr>
        </p15:guide>
        <p15:guide id="3" pos="5009">
          <p15:clr>
            <a:srgbClr val="FFC000"/>
          </p15:clr>
        </p15:guide>
        <p15:guide id="4" pos="2819">
          <p15:clr>
            <a:srgbClr val="FFC000"/>
          </p15:clr>
        </p15:guide>
        <p15:guide id="5" orient="horz" pos="2904">
          <p15:clr>
            <a:srgbClr val="FFC000"/>
          </p15:clr>
        </p15:guide>
        <p15:guide id="6" orient="horz" pos="1898">
          <p15:clr>
            <a:srgbClr val="FFC000"/>
          </p15:clr>
        </p15:guide>
        <p15:guide id="7" pos="871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orient="horz" pos="906">
          <p15:clr>
            <a:srgbClr val="FFC000"/>
          </p15:clr>
        </p15:guide>
        <p15:guide id="10" orient="horz" pos="3958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C9466D7-7026-11D5-2238-B3F59D15C2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Graphic 4">
            <a:extLst>
              <a:ext uri="{FF2B5EF4-FFF2-40B4-BE49-F238E27FC236}">
                <a16:creationId xmlns:a16="http://schemas.microsoft.com/office/drawing/2014/main" id="{18856E0D-BA88-5530-3929-C472EBBF987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680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8F17C3B9-E8D0-267E-7146-1E9673361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76760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7E9B2076-03CD-8440-CDC8-1DA0E2603DEC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476618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CED04CBA-DE01-EE53-BB6F-07F996F8A4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78483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58DA222D-C25A-D45A-7FCE-85430FF2839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76883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4CE00001-8D51-75EC-4465-EED81474FE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8483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403703E-D04C-61D4-A8F8-131F1E60712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476883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7" name="Gerade Verbindung 61">
            <a:extLst>
              <a:ext uri="{FF2B5EF4-FFF2-40B4-BE49-F238E27FC236}">
                <a16:creationId xmlns:a16="http://schemas.microsoft.com/office/drawing/2014/main" id="{80C5D521-F036-9A83-0F87-2C8872A57862}"/>
              </a:ext>
            </a:extLst>
          </p:cNvPr>
          <p:cNvCxnSpPr>
            <a:cxnSpLocks/>
          </p:cNvCxnSpPr>
          <p:nvPr userDrawn="1"/>
        </p:nvCxnSpPr>
        <p:spPr>
          <a:xfrm>
            <a:off x="0" y="1036800"/>
            <a:ext cx="803583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2881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7">
          <p15:clr>
            <a:srgbClr val="FFC000"/>
          </p15:clr>
        </p15:guide>
        <p15:guide id="2" pos="2373">
          <p15:clr>
            <a:srgbClr val="FFC000"/>
          </p15:clr>
        </p15:guide>
        <p15:guide id="3" pos="5009">
          <p15:clr>
            <a:srgbClr val="FFC000"/>
          </p15:clr>
        </p15:guide>
        <p15:guide id="4" pos="2819">
          <p15:clr>
            <a:srgbClr val="FFC000"/>
          </p15:clr>
        </p15:guide>
        <p15:guide id="5" pos="871">
          <p15:clr>
            <a:srgbClr val="FFC000"/>
          </p15:clr>
        </p15:guide>
        <p15:guide id="6" orient="horz" pos="2904">
          <p15:clr>
            <a:srgbClr val="FFC000"/>
          </p15:clr>
        </p15:guide>
        <p15:guide id="7" orient="horz" pos="1898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orient="horz" pos="906">
          <p15:clr>
            <a:srgbClr val="FFC000"/>
          </p15:clr>
        </p15:guide>
        <p15:guide id="10" orient="horz" pos="3958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mall light QR, Logo neg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48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925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6FAD160A-5087-060D-4C02-28422E86AB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392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0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pos="3395">
          <p15:clr>
            <a:srgbClr val="FFC000"/>
          </p15:clr>
        </p15:guide>
        <p15:guide id="4" pos="933">
          <p15:clr>
            <a:srgbClr val="FFC000"/>
          </p15:clr>
        </p15:guide>
        <p15:guide id="5" orient="horz" pos="2904">
          <p15:clr>
            <a:srgbClr val="FFC000"/>
          </p15:clr>
        </p15:guide>
        <p15:guide id="6" orient="horz" pos="1898">
          <p15:clr>
            <a:srgbClr val="FFC000"/>
          </p15:clr>
        </p15:guide>
        <p15:guide id="7" orient="horz" pos="906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mall light QR, Logo po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48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925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1152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164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0">
          <p15:clr>
            <a:srgbClr val="FFC000"/>
          </p15:clr>
        </p15:guide>
        <p15:guide id="2" pos="933">
          <p15:clr>
            <a:srgbClr val="FFC000"/>
          </p15:clr>
        </p15:guide>
        <p15:guide id="3" pos="3395">
          <p15:clr>
            <a:srgbClr val="FFC000"/>
          </p15:clr>
        </p15:guide>
        <p15:guide id="4" orient="horz" pos="2904">
          <p15:clr>
            <a:srgbClr val="FFC000"/>
          </p15:clr>
        </p15:guide>
        <p15:guide id="5" orient="horz" pos="1898">
          <p15:clr>
            <a:srgbClr val="FFC000"/>
          </p15:clr>
        </p15:guide>
        <p15:guide id="6" orient="horz" pos="906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orient="horz" pos="3958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light Q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C45C550-67C8-8E0E-76B2-10F7BAEB016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11048" y="145080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226A956F-BF0B-11B1-BA4F-4767F296B544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6170764" y="13824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11">
            <a:extLst>
              <a:ext uri="{FF2B5EF4-FFF2-40B4-BE49-F238E27FC236}">
                <a16:creationId xmlns:a16="http://schemas.microsoft.com/office/drawing/2014/main" id="{438F40B8-7652-6E88-69E0-B92FC96B573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373429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8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11525"/>
            <a:ext cx="116172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6066C757-B811-657B-3587-2CB2D5EE671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09600" y="3034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Picture Placeholder 14">
            <a:extLst>
              <a:ext uri="{FF2B5EF4-FFF2-40B4-BE49-F238E27FC236}">
                <a16:creationId xmlns:a16="http://schemas.microsoft.com/office/drawing/2014/main" id="{D75DA5FC-FAB4-BE50-0AF6-4801151645F3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6170400" y="29700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553B8A1D-0F52-FC28-B579-9725A8C28F5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409600" y="4618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Picture Placeholder 14">
            <a:extLst>
              <a:ext uri="{FF2B5EF4-FFF2-40B4-BE49-F238E27FC236}">
                <a16:creationId xmlns:a16="http://schemas.microsoft.com/office/drawing/2014/main" id="{BFE1E6D1-EC3E-D0A2-7C0B-A87A65F18092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6170400" y="45504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11">
            <a:extLst>
              <a:ext uri="{FF2B5EF4-FFF2-40B4-BE49-F238E27FC236}">
                <a16:creationId xmlns:a16="http://schemas.microsoft.com/office/drawing/2014/main" id="{C3D8EE79-660C-D0CF-5B57-462E641198C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728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Picture Placeholder 11">
            <a:extLst>
              <a:ext uri="{FF2B5EF4-FFF2-40B4-BE49-F238E27FC236}">
                <a16:creationId xmlns:a16="http://schemas.microsoft.com/office/drawing/2014/main" id="{7BA30EF2-DB58-8C3A-3BAA-2769229A1D4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3728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14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1">
          <p15:clr>
            <a:srgbClr val="FFC000"/>
          </p15:clr>
        </p15:guide>
        <p15:guide id="2" pos="5289">
          <p15:clr>
            <a:srgbClr val="FFC000"/>
          </p15:clr>
        </p15:guide>
        <p15:guide id="3" pos="4633">
          <p15:clr>
            <a:srgbClr val="FFC000"/>
          </p15:clr>
        </p15:guide>
        <p15:guide id="4" pos="7095">
          <p15:clr>
            <a:srgbClr val="FFC000"/>
          </p15:clr>
        </p15:guide>
        <p15:guide id="5" pos="1590">
          <p15:clr>
            <a:srgbClr val="FFC000"/>
          </p15:clr>
        </p15:guide>
        <p15:guide id="6" pos="933">
          <p15:clr>
            <a:srgbClr val="FFC000"/>
          </p15:clr>
        </p15:guide>
        <p15:guide id="7" pos="3395">
          <p15:clr>
            <a:srgbClr val="FFC000"/>
          </p15:clr>
        </p15:guide>
        <p15:guide id="8" orient="horz" pos="2904">
          <p15:clr>
            <a:srgbClr val="FFC000"/>
          </p15:clr>
        </p15:guide>
        <p15:guide id="9" orient="horz" pos="1898">
          <p15:clr>
            <a:srgbClr val="FFC000"/>
          </p15:clr>
        </p15:guide>
        <p15:guide id="10" orient="horz" pos="906">
          <p15:clr>
            <a:srgbClr val="FFC000"/>
          </p15:clr>
        </p15:guide>
        <p15:guide id="11" orient="horz" pos="865">
          <p15:clr>
            <a:srgbClr val="FFC000"/>
          </p15:clr>
        </p15:guide>
        <p15:guide id="12" orient="horz" pos="3958">
          <p15:clr>
            <a:srgbClr val="FFC000"/>
          </p15:clr>
        </p15:guide>
        <p15:guide id="13" pos="7500">
          <p15:clr>
            <a:srgbClr val="FFC000"/>
          </p15:clr>
        </p15:guide>
        <p15:guide id="14" pos="181">
          <p15:clr>
            <a:srgbClr val="FFC000"/>
          </p15:clr>
        </p15:guide>
        <p15:guide id="15" orient="horz" pos="4142">
          <p15:clr>
            <a:srgbClr val="FFC000"/>
          </p15:clr>
        </p15:guide>
        <p15:guide id="16" orient="horz" pos="169">
          <p15:clr>
            <a:srgbClr val="FFC00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BCED6-8891-A832-3C0A-9345E3B25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975940-1288-FF90-7A5E-C4F6F23C3282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9F3BD1D-1CC2-2F07-D67E-F6637C2FBA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87CFEA-9729-4263-17A0-DA881A8DA1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71375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9">
          <p15:clr>
            <a:srgbClr val="FFC000"/>
          </p15:clr>
        </p15:guide>
        <p15:guide id="2" pos="2503">
          <p15:clr>
            <a:srgbClr val="FFC000"/>
          </p15:clr>
        </p15:guide>
        <p15:guide id="3" pos="2071">
          <p15:clr>
            <a:srgbClr val="FFC000"/>
          </p15:clr>
        </p15:guide>
        <p15:guide id="4" pos="1891">
          <p15:clr>
            <a:srgbClr val="FFC000"/>
          </p15:clr>
        </p15:guide>
        <p15:guide id="5" pos="1436">
          <p15:clr>
            <a:srgbClr val="FFC000"/>
          </p15:clr>
        </p15:guide>
        <p15:guide id="6" pos="1255">
          <p15:clr>
            <a:srgbClr val="FFC000"/>
          </p15:clr>
        </p15:guide>
        <p15:guide id="7" pos="804">
          <p15:clr>
            <a:srgbClr val="FFC000"/>
          </p15:clr>
        </p15:guide>
        <p15:guide id="8" pos="620">
          <p15:clr>
            <a:srgbClr val="FFC000"/>
          </p15:clr>
        </p15:guide>
        <p15:guide id="9" pos="181">
          <p15:clr>
            <a:srgbClr val="FFC000"/>
          </p15:clr>
        </p15:guide>
        <p15:guide id="10" pos="2684">
          <p15:clr>
            <a:srgbClr val="FFC000"/>
          </p15:clr>
        </p15:guide>
        <p15:guide id="11" pos="3295">
          <p15:clr>
            <a:srgbClr val="FFC000"/>
          </p15:clr>
        </p15:guide>
        <p15:guide id="12" pos="3113">
          <p15:clr>
            <a:srgbClr val="FFC000"/>
          </p15:clr>
        </p15:guide>
        <p15:guide id="13" pos="3751">
          <p15:clr>
            <a:srgbClr val="FFC000"/>
          </p15:clr>
        </p15:guide>
        <p15:guide id="14" pos="7061">
          <p15:clr>
            <a:srgbClr val="FFC000"/>
          </p15:clr>
        </p15:guide>
        <p15:guide id="15" pos="6901">
          <p15:clr>
            <a:srgbClr val="FFC000"/>
          </p15:clr>
        </p15:guide>
        <p15:guide id="16" pos="6449">
          <p15:clr>
            <a:srgbClr val="FFC000"/>
          </p15:clr>
        </p15:guide>
        <p15:guide id="17" pos="6269">
          <p15:clr>
            <a:srgbClr val="FFC000"/>
          </p15:clr>
        </p15:guide>
        <p15:guide id="18" pos="5816">
          <p15:clr>
            <a:srgbClr val="FFC000"/>
          </p15:clr>
        </p15:guide>
        <p15:guide id="19" pos="5634">
          <p15:clr>
            <a:srgbClr val="FFC000"/>
          </p15:clr>
        </p15:guide>
        <p15:guide id="20" pos="5178">
          <p15:clr>
            <a:srgbClr val="FFC000"/>
          </p15:clr>
        </p15:guide>
        <p15:guide id="21" pos="4998">
          <p15:clr>
            <a:srgbClr val="FFC000"/>
          </p15:clr>
        </p15:guide>
        <p15:guide id="22" pos="4544">
          <p15:clr>
            <a:srgbClr val="FFC000"/>
          </p15:clr>
        </p15:guide>
        <p15:guide id="23" pos="4385">
          <p15:clr>
            <a:srgbClr val="FFC000"/>
          </p15:clr>
        </p15:guide>
        <p15:guide id="24" pos="3931">
          <p15:clr>
            <a:srgbClr val="FFC000"/>
          </p15:clr>
        </p15:guide>
        <p15:guide id="25" orient="horz" pos="4141">
          <p15:clr>
            <a:srgbClr val="FFC000"/>
          </p15:clr>
        </p15:guide>
        <p15:guide id="26" orient="horz" pos="3962">
          <p15:clr>
            <a:srgbClr val="FFC000"/>
          </p15:clr>
        </p15:guide>
        <p15:guide id="27" orient="horz" pos="166">
          <p15:clr>
            <a:srgbClr val="FFC00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8106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1BAE6905-FD07-5B0D-CB7E-5FE54EA1E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162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Picture (1: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0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9C72D0-9C75-B7FA-B88A-327B8440D37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65200" y="1379538"/>
            <a:ext cx="8637587" cy="4903049"/>
          </a:xfrm>
          <a:custGeom>
            <a:avLst/>
            <a:gdLst>
              <a:gd name="connsiteX0" fmla="*/ 267045 w 8637587"/>
              <a:gd name="connsiteY0" fmla="*/ 0 h 4903049"/>
              <a:gd name="connsiteX1" fmla="*/ 8370541 w 8637587"/>
              <a:gd name="connsiteY1" fmla="*/ 0 h 4903049"/>
              <a:gd name="connsiteX2" fmla="*/ 8418515 w 8637587"/>
              <a:gd name="connsiteY2" fmla="*/ 4836 h 4903049"/>
              <a:gd name="connsiteX3" fmla="*/ 8637587 w 8637587"/>
              <a:gd name="connsiteY3" fmla="*/ 273629 h 4903049"/>
              <a:gd name="connsiteX4" fmla="*/ 8637587 w 8637587"/>
              <a:gd name="connsiteY4" fmla="*/ 4628682 h 4903049"/>
              <a:gd name="connsiteX5" fmla="*/ 8363220 w 8637587"/>
              <a:gd name="connsiteY5" fmla="*/ 4903049 h 4903049"/>
              <a:gd name="connsiteX6" fmla="*/ 5396974 w 8637587"/>
              <a:gd name="connsiteY6" fmla="*/ 4903049 h 4903049"/>
              <a:gd name="connsiteX7" fmla="*/ 3240612 w 8637587"/>
              <a:gd name="connsiteY7" fmla="*/ 4903049 h 4903049"/>
              <a:gd name="connsiteX8" fmla="*/ 274366 w 8637587"/>
              <a:gd name="connsiteY8" fmla="*/ 4903049 h 4903049"/>
              <a:gd name="connsiteX9" fmla="*/ 21560 w 8637587"/>
              <a:gd name="connsiteY9" fmla="*/ 4735478 h 4903049"/>
              <a:gd name="connsiteX10" fmla="*/ 0 w 8637587"/>
              <a:gd name="connsiteY10" fmla="*/ 4628687 h 4903049"/>
              <a:gd name="connsiteX11" fmla="*/ 0 w 8637587"/>
              <a:gd name="connsiteY11" fmla="*/ 273625 h 4903049"/>
              <a:gd name="connsiteX12" fmla="*/ 21560 w 8637587"/>
              <a:gd name="connsiteY12" fmla="*/ 166833 h 4903049"/>
              <a:gd name="connsiteX13" fmla="*/ 219071 w 8637587"/>
              <a:gd name="connsiteY13" fmla="*/ 4836 h 490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37587" h="4903049">
                <a:moveTo>
                  <a:pt x="267045" y="0"/>
                </a:moveTo>
                <a:lnTo>
                  <a:pt x="8370541" y="0"/>
                </a:lnTo>
                <a:lnTo>
                  <a:pt x="8418515" y="4836"/>
                </a:lnTo>
                <a:cubicBezTo>
                  <a:pt x="8543539" y="30420"/>
                  <a:pt x="8637587" y="141041"/>
                  <a:pt x="8637587" y="273629"/>
                </a:cubicBezTo>
                <a:lnTo>
                  <a:pt x="8637587" y="4628682"/>
                </a:lnTo>
                <a:cubicBezTo>
                  <a:pt x="8637587" y="4780211"/>
                  <a:pt x="8514749" y="4903049"/>
                  <a:pt x="8363220" y="4903049"/>
                </a:cubicBezTo>
                <a:lnTo>
                  <a:pt x="5396974" y="4903049"/>
                </a:lnTo>
                <a:lnTo>
                  <a:pt x="3240612" y="4903049"/>
                </a:lnTo>
                <a:lnTo>
                  <a:pt x="274366" y="4903049"/>
                </a:lnTo>
                <a:cubicBezTo>
                  <a:pt x="160719" y="4903049"/>
                  <a:pt x="63211" y="4833953"/>
                  <a:pt x="21560" y="4735478"/>
                </a:cubicBezTo>
                <a:lnTo>
                  <a:pt x="0" y="4628687"/>
                </a:lnTo>
                <a:lnTo>
                  <a:pt x="0" y="273625"/>
                </a:lnTo>
                <a:lnTo>
                  <a:pt x="21560" y="166833"/>
                </a:lnTo>
                <a:cubicBezTo>
                  <a:pt x="56270" y="84771"/>
                  <a:pt x="129768" y="23110"/>
                  <a:pt x="219071" y="483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3668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2055">
          <p15:clr>
            <a:srgbClr val="FFC000"/>
          </p15:clr>
        </p15:guide>
        <p15:guide id="4" pos="1873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">
    <p:bg>
      <p:bgPr>
        <a:solidFill>
          <a:srgbClr val="7218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0">
            <a:extLst>
              <a:ext uri="{FF2B5EF4-FFF2-40B4-BE49-F238E27FC236}">
                <a16:creationId xmlns:a16="http://schemas.microsoft.com/office/drawing/2014/main" id="{6971360E-DEC6-482A-0192-70EC9DBBF4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403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ay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01006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 Blue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0">
            <a:extLst>
              <a:ext uri="{FF2B5EF4-FFF2-40B4-BE49-F238E27FC236}">
                <a16:creationId xmlns:a16="http://schemas.microsoft.com/office/drawing/2014/main" id="{6971360E-DEC6-482A-0192-70EC9DBBF4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360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7218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0">
            <a:extLst>
              <a:ext uri="{FF2B5EF4-FFF2-40B4-BE49-F238E27FC236}">
                <a16:creationId xmlns:a16="http://schemas.microsoft.com/office/drawing/2014/main" id="{B94BCFD9-747C-BA52-E311-DE236FD4E5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8645" y="3200400"/>
            <a:ext cx="347471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612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, Text (3: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196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EE23C52-6DAD-95DC-ED98-591B9334BBE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7338" y="1379538"/>
            <a:ext cx="8637587" cy="4903049"/>
          </a:xfrm>
          <a:custGeom>
            <a:avLst/>
            <a:gdLst>
              <a:gd name="connsiteX0" fmla="*/ 267045 w 8637587"/>
              <a:gd name="connsiteY0" fmla="*/ 0 h 4903049"/>
              <a:gd name="connsiteX1" fmla="*/ 8370541 w 8637587"/>
              <a:gd name="connsiteY1" fmla="*/ 0 h 4903049"/>
              <a:gd name="connsiteX2" fmla="*/ 8418515 w 8637587"/>
              <a:gd name="connsiteY2" fmla="*/ 4836 h 4903049"/>
              <a:gd name="connsiteX3" fmla="*/ 8637587 w 8637587"/>
              <a:gd name="connsiteY3" fmla="*/ 273629 h 4903049"/>
              <a:gd name="connsiteX4" fmla="*/ 8637587 w 8637587"/>
              <a:gd name="connsiteY4" fmla="*/ 4628682 h 4903049"/>
              <a:gd name="connsiteX5" fmla="*/ 8363220 w 8637587"/>
              <a:gd name="connsiteY5" fmla="*/ 4903049 h 4903049"/>
              <a:gd name="connsiteX6" fmla="*/ 5396974 w 8637587"/>
              <a:gd name="connsiteY6" fmla="*/ 4903049 h 4903049"/>
              <a:gd name="connsiteX7" fmla="*/ 3240612 w 8637587"/>
              <a:gd name="connsiteY7" fmla="*/ 4903049 h 4903049"/>
              <a:gd name="connsiteX8" fmla="*/ 274366 w 8637587"/>
              <a:gd name="connsiteY8" fmla="*/ 4903049 h 4903049"/>
              <a:gd name="connsiteX9" fmla="*/ 21560 w 8637587"/>
              <a:gd name="connsiteY9" fmla="*/ 4735478 h 4903049"/>
              <a:gd name="connsiteX10" fmla="*/ 0 w 8637587"/>
              <a:gd name="connsiteY10" fmla="*/ 4628687 h 4903049"/>
              <a:gd name="connsiteX11" fmla="*/ 0 w 8637587"/>
              <a:gd name="connsiteY11" fmla="*/ 273625 h 4903049"/>
              <a:gd name="connsiteX12" fmla="*/ 21560 w 8637587"/>
              <a:gd name="connsiteY12" fmla="*/ 166833 h 4903049"/>
              <a:gd name="connsiteX13" fmla="*/ 219071 w 8637587"/>
              <a:gd name="connsiteY13" fmla="*/ 4836 h 490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37587" h="4903049">
                <a:moveTo>
                  <a:pt x="267045" y="0"/>
                </a:moveTo>
                <a:lnTo>
                  <a:pt x="8370541" y="0"/>
                </a:lnTo>
                <a:lnTo>
                  <a:pt x="8418515" y="4836"/>
                </a:lnTo>
                <a:cubicBezTo>
                  <a:pt x="8543539" y="30420"/>
                  <a:pt x="8637587" y="141041"/>
                  <a:pt x="8637587" y="273629"/>
                </a:cubicBezTo>
                <a:lnTo>
                  <a:pt x="8637587" y="4628682"/>
                </a:lnTo>
                <a:cubicBezTo>
                  <a:pt x="8637587" y="4780211"/>
                  <a:pt x="8514749" y="4903049"/>
                  <a:pt x="8363220" y="4903049"/>
                </a:cubicBezTo>
                <a:lnTo>
                  <a:pt x="5396974" y="4903049"/>
                </a:lnTo>
                <a:lnTo>
                  <a:pt x="3240612" y="4903049"/>
                </a:lnTo>
                <a:lnTo>
                  <a:pt x="274366" y="4903049"/>
                </a:lnTo>
                <a:cubicBezTo>
                  <a:pt x="160719" y="4903049"/>
                  <a:pt x="63211" y="4833953"/>
                  <a:pt x="21560" y="4735478"/>
                </a:cubicBezTo>
                <a:lnTo>
                  <a:pt x="0" y="4628687"/>
                </a:lnTo>
                <a:lnTo>
                  <a:pt x="0" y="273625"/>
                </a:lnTo>
                <a:lnTo>
                  <a:pt x="21560" y="166833"/>
                </a:lnTo>
                <a:cubicBezTo>
                  <a:pt x="56270" y="84771"/>
                  <a:pt x="129768" y="23110"/>
                  <a:pt x="219071" y="483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07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08">
          <p15:clr>
            <a:srgbClr val="FFC000"/>
          </p15:clr>
        </p15:guide>
        <p15:guide id="2" pos="5627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(full widt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4F0F322-EA25-ACAE-609C-DC51DE7031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7" y="1378800"/>
            <a:ext cx="11615736" cy="4903787"/>
          </a:xfrm>
          <a:custGeom>
            <a:avLst/>
            <a:gdLst>
              <a:gd name="connsiteX0" fmla="*/ 3245194 w 11615736"/>
              <a:gd name="connsiteY0" fmla="*/ 0 h 4903787"/>
              <a:gd name="connsiteX1" fmla="*/ 11348690 w 11615736"/>
              <a:gd name="connsiteY1" fmla="*/ 0 h 4903787"/>
              <a:gd name="connsiteX2" fmla="*/ 11396664 w 11615736"/>
              <a:gd name="connsiteY2" fmla="*/ 4836 h 4903787"/>
              <a:gd name="connsiteX3" fmla="*/ 11615736 w 11615736"/>
              <a:gd name="connsiteY3" fmla="*/ 273629 h 4903787"/>
              <a:gd name="connsiteX4" fmla="*/ 11615736 w 11615736"/>
              <a:gd name="connsiteY4" fmla="*/ 4628682 h 4903787"/>
              <a:gd name="connsiteX5" fmla="*/ 11341369 w 11615736"/>
              <a:gd name="connsiteY5" fmla="*/ 4903049 h 4903787"/>
              <a:gd name="connsiteX6" fmla="*/ 8375123 w 11615736"/>
              <a:gd name="connsiteY6" fmla="*/ 4903049 h 4903787"/>
              <a:gd name="connsiteX7" fmla="*/ 8370541 w 11615736"/>
              <a:gd name="connsiteY7" fmla="*/ 4903049 h 4903787"/>
              <a:gd name="connsiteX8" fmla="*/ 8363220 w 11615736"/>
              <a:gd name="connsiteY8" fmla="*/ 4903787 h 4903787"/>
              <a:gd name="connsiteX9" fmla="*/ 5396974 w 11615736"/>
              <a:gd name="connsiteY9" fmla="*/ 4903787 h 4903787"/>
              <a:gd name="connsiteX10" fmla="*/ 3240612 w 11615736"/>
              <a:gd name="connsiteY10" fmla="*/ 4903787 h 4903787"/>
              <a:gd name="connsiteX11" fmla="*/ 274366 w 11615736"/>
              <a:gd name="connsiteY11" fmla="*/ 4903787 h 4903787"/>
              <a:gd name="connsiteX12" fmla="*/ 21560 w 11615736"/>
              <a:gd name="connsiteY12" fmla="*/ 4736216 h 4903787"/>
              <a:gd name="connsiteX13" fmla="*/ 0 w 11615736"/>
              <a:gd name="connsiteY13" fmla="*/ 4629425 h 4903787"/>
              <a:gd name="connsiteX14" fmla="*/ 0 w 11615736"/>
              <a:gd name="connsiteY14" fmla="*/ 274363 h 4903787"/>
              <a:gd name="connsiteX15" fmla="*/ 21560 w 11615736"/>
              <a:gd name="connsiteY15" fmla="*/ 167571 h 4903787"/>
              <a:gd name="connsiteX16" fmla="*/ 219071 w 11615736"/>
              <a:gd name="connsiteY16" fmla="*/ 5574 h 4903787"/>
              <a:gd name="connsiteX17" fmla="*/ 267045 w 11615736"/>
              <a:gd name="connsiteY17" fmla="*/ 738 h 4903787"/>
              <a:gd name="connsiteX18" fmla="*/ 3237874 w 11615736"/>
              <a:gd name="connsiteY18" fmla="*/ 738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615736" h="4903787">
                <a:moveTo>
                  <a:pt x="3245194" y="0"/>
                </a:moveTo>
                <a:lnTo>
                  <a:pt x="11348690" y="0"/>
                </a:lnTo>
                <a:lnTo>
                  <a:pt x="11396664" y="4836"/>
                </a:lnTo>
                <a:cubicBezTo>
                  <a:pt x="11521688" y="30420"/>
                  <a:pt x="11615736" y="141041"/>
                  <a:pt x="11615736" y="273629"/>
                </a:cubicBezTo>
                <a:lnTo>
                  <a:pt x="11615736" y="4628682"/>
                </a:lnTo>
                <a:cubicBezTo>
                  <a:pt x="11615736" y="4780211"/>
                  <a:pt x="11492898" y="4903049"/>
                  <a:pt x="11341369" y="4903049"/>
                </a:cubicBezTo>
                <a:lnTo>
                  <a:pt x="8375123" y="4903049"/>
                </a:lnTo>
                <a:lnTo>
                  <a:pt x="8370541" y="4903049"/>
                </a:lnTo>
                <a:lnTo>
                  <a:pt x="8363220" y="4903787"/>
                </a:lnTo>
                <a:lnTo>
                  <a:pt x="5396974" y="4903787"/>
                </a:lnTo>
                <a:lnTo>
                  <a:pt x="3240612" y="4903787"/>
                </a:lnTo>
                <a:lnTo>
                  <a:pt x="274366" y="4903787"/>
                </a:lnTo>
                <a:cubicBezTo>
                  <a:pt x="160719" y="4903787"/>
                  <a:pt x="63211" y="4834691"/>
                  <a:pt x="21560" y="4736216"/>
                </a:cubicBezTo>
                <a:lnTo>
                  <a:pt x="0" y="4629425"/>
                </a:lnTo>
                <a:lnTo>
                  <a:pt x="0" y="274363"/>
                </a:lnTo>
                <a:lnTo>
                  <a:pt x="21560" y="167571"/>
                </a:lnTo>
                <a:cubicBezTo>
                  <a:pt x="56270" y="85509"/>
                  <a:pt x="129768" y="23848"/>
                  <a:pt x="219071" y="5574"/>
                </a:cubicBezTo>
                <a:lnTo>
                  <a:pt x="267045" y="738"/>
                </a:lnTo>
                <a:lnTo>
                  <a:pt x="3237874" y="7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941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9AFD43-5FF5-07CF-598F-C6154BEE6A9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0039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9">
          <p15:clr>
            <a:srgbClr val="FFC000"/>
          </p15:clr>
        </p15:guide>
        <p15:guide id="2" pos="2503">
          <p15:clr>
            <a:srgbClr val="FFC000"/>
          </p15:clr>
        </p15:guide>
        <p15:guide id="3" pos="2071">
          <p15:clr>
            <a:srgbClr val="FFC000"/>
          </p15:clr>
        </p15:guide>
        <p15:guide id="4" pos="1891">
          <p15:clr>
            <a:srgbClr val="FFC000"/>
          </p15:clr>
        </p15:guide>
        <p15:guide id="5" pos="1436">
          <p15:clr>
            <a:srgbClr val="FFC000"/>
          </p15:clr>
        </p15:guide>
        <p15:guide id="6" pos="1255">
          <p15:clr>
            <a:srgbClr val="FFC000"/>
          </p15:clr>
        </p15:guide>
        <p15:guide id="7" pos="804">
          <p15:clr>
            <a:srgbClr val="FFC000"/>
          </p15:clr>
        </p15:guide>
        <p15:guide id="8" pos="620">
          <p15:clr>
            <a:srgbClr val="FFC000"/>
          </p15:clr>
        </p15:guide>
        <p15:guide id="9" pos="181">
          <p15:clr>
            <a:srgbClr val="FFC000"/>
          </p15:clr>
        </p15:guide>
        <p15:guide id="10" pos="2684">
          <p15:clr>
            <a:srgbClr val="FFC000"/>
          </p15:clr>
        </p15:guide>
        <p15:guide id="11" pos="3295">
          <p15:clr>
            <a:srgbClr val="FFC000"/>
          </p15:clr>
        </p15:guide>
        <p15:guide id="12" pos="3113">
          <p15:clr>
            <a:srgbClr val="FFC000"/>
          </p15:clr>
        </p15:guide>
        <p15:guide id="13" pos="3751">
          <p15:clr>
            <a:srgbClr val="FFC000"/>
          </p15:clr>
        </p15:guide>
        <p15:guide id="14" pos="7061">
          <p15:clr>
            <a:srgbClr val="FFC000"/>
          </p15:clr>
        </p15:guide>
        <p15:guide id="15" pos="6901">
          <p15:clr>
            <a:srgbClr val="FFC000"/>
          </p15:clr>
        </p15:guide>
        <p15:guide id="16" pos="6449">
          <p15:clr>
            <a:srgbClr val="FFC000"/>
          </p15:clr>
        </p15:guide>
        <p15:guide id="17" pos="6269">
          <p15:clr>
            <a:srgbClr val="FFC000"/>
          </p15:clr>
        </p15:guide>
        <p15:guide id="18" pos="5816">
          <p15:clr>
            <a:srgbClr val="FFC000"/>
          </p15:clr>
        </p15:guide>
        <p15:guide id="19" pos="5634">
          <p15:clr>
            <a:srgbClr val="FFC000"/>
          </p15:clr>
        </p15:guide>
        <p15:guide id="20" pos="5178">
          <p15:clr>
            <a:srgbClr val="FFC000"/>
          </p15:clr>
        </p15:guide>
        <p15:guide id="21" pos="4998">
          <p15:clr>
            <a:srgbClr val="FFC000"/>
          </p15:clr>
        </p15:guide>
        <p15:guide id="22" pos="4544">
          <p15:clr>
            <a:srgbClr val="FFC000"/>
          </p15:clr>
        </p15:guide>
        <p15:guide id="23" pos="4385">
          <p15:clr>
            <a:srgbClr val="FFC000"/>
          </p15:clr>
        </p15:guide>
        <p15:guide id="24" pos="3931">
          <p15:clr>
            <a:srgbClr val="FFC000"/>
          </p15:clr>
        </p15:guide>
        <p15:guide id="25" orient="horz" pos="4141">
          <p15:clr>
            <a:srgbClr val="FFC000"/>
          </p15:clr>
        </p15:guide>
        <p15:guide id="26" orient="horz" pos="3962">
          <p15:clr>
            <a:srgbClr val="FFC000"/>
          </p15:clr>
        </p15:guide>
        <p15:guide id="27" orient="horz" pos="166">
          <p15:clr>
            <a:srgbClr val="FFC00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BC6E3AB-0636-57B2-4C36-AC798D6B06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0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5A7C009-966B-009A-E119-D98EDBB960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0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FCEF823-670B-2AD2-6E20-55B1F88A48E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688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B4FBDE2-69A3-83BC-90B8-D68A711F9E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352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070E2F6E-F2A4-9A59-115B-08EEEAF78B0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96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93BBFB66-7482-7164-A64A-968F6356FA5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270275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31F66869-8715-1AC4-BB36-53CF23C5B2E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352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C197165B-607C-959F-F199-34120D43467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2196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8879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5806">
          <p15:clr>
            <a:srgbClr val="FFC000"/>
          </p15:clr>
        </p15:guide>
        <p15:guide id="4" pos="5617">
          <p15:clr>
            <a:srgbClr val="FFC000"/>
          </p15:clr>
        </p15:guide>
        <p15:guide id="5" pos="3912">
          <p15:clr>
            <a:srgbClr val="FFC000"/>
          </p15:clr>
        </p15:guide>
        <p15:guide id="6" pos="3754">
          <p15:clr>
            <a:srgbClr val="FFC000"/>
          </p15:clr>
        </p15:guide>
        <p15:guide id="7" pos="2055">
          <p15:clr>
            <a:srgbClr val="FFC000"/>
          </p15:clr>
        </p15:guide>
        <p15:guide id="8" pos="1873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Contents with Depos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C1E507DF-D53B-3BE4-1A00-07C74C890A5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/>
            </a:lvl1pPr>
            <a:lvl2pPr marL="0" indent="0" algn="ctr">
              <a:spcAft>
                <a:spcPts val="600"/>
              </a:spcAft>
              <a:buNone/>
              <a:defRPr sz="2000" b="1"/>
            </a:lvl2pPr>
            <a:lvl3pPr marL="0" indent="0" algn="ctr">
              <a:spcAft>
                <a:spcPts val="600"/>
              </a:spcAft>
              <a:buNone/>
              <a:defRPr sz="3000" b="0"/>
            </a:lvl3pPr>
            <a:lvl4pPr marL="0" indent="0" algn="ctr">
              <a:spcAft>
                <a:spcPts val="600"/>
              </a:spcAft>
              <a:buNone/>
              <a:defRPr sz="4800"/>
            </a:lvl4pPr>
            <a:lvl5pPr>
              <a:spcAft>
                <a:spcPts val="600"/>
              </a:spcAft>
              <a:defRPr sz="1400"/>
            </a:lvl5pPr>
            <a:lvl6pPr>
              <a:spcAft>
                <a:spcPts val="600"/>
              </a:spcAft>
              <a:defRPr sz="1400"/>
            </a:lvl6pPr>
            <a:lvl7pPr>
              <a:spcAft>
                <a:spcPts val="600"/>
              </a:spcAft>
              <a:defRPr sz="1400"/>
            </a:lvl7pPr>
            <a:lvl8pPr>
              <a:spcAft>
                <a:spcPts val="600"/>
              </a:spcAft>
              <a:defRPr sz="14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81DD2EF-6E62-0069-4582-4CFA7F89136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88000" y="3968525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DAA20D63-B477-B8C1-E93C-EFEB50581D3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231600" y="1378800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B8735F24-7570-5F03-F59D-0B5175E0FC1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688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C1D5FF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rgbClr val="003C70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rgbClr val="003C70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rgbClr val="003C70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rgbClr val="003C70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rgbClr val="003C70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rgbClr val="003C70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rgbClr val="003C70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rgbClr val="003C70"/>
                </a:solidFill>
              </a:defRPr>
            </a:lvl8pPr>
            <a:lvl9pPr>
              <a:defRPr>
                <a:solidFill>
                  <a:srgbClr val="003C70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0E93F332-4FA1-F307-866F-643689147FF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216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F1F1F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/>
            </a:lvl1pPr>
            <a:lvl2pPr marL="0" indent="0" algn="ctr">
              <a:spcAft>
                <a:spcPts val="600"/>
              </a:spcAft>
              <a:buNone/>
              <a:defRPr sz="2000" b="1"/>
            </a:lvl2pPr>
            <a:lvl3pPr marL="0" indent="0" algn="ctr">
              <a:spcAft>
                <a:spcPts val="600"/>
              </a:spcAft>
              <a:buNone/>
              <a:defRPr sz="3000" b="0"/>
            </a:lvl3pPr>
            <a:lvl4pPr marL="0" indent="0" algn="ctr">
              <a:spcAft>
                <a:spcPts val="600"/>
              </a:spcAft>
              <a:buNone/>
              <a:defRPr sz="4800"/>
            </a:lvl4pPr>
            <a:lvl5pPr>
              <a:spcAft>
                <a:spcPts val="600"/>
              </a:spcAft>
              <a:defRPr sz="1400"/>
            </a:lvl5pPr>
            <a:lvl6pPr>
              <a:spcAft>
                <a:spcPts val="600"/>
              </a:spcAft>
              <a:defRPr sz="1400"/>
            </a:lvl6pPr>
            <a:lvl7pPr>
              <a:spcAft>
                <a:spcPts val="600"/>
              </a:spcAft>
              <a:defRPr sz="1400"/>
            </a:lvl7pPr>
            <a:lvl8pPr>
              <a:spcAft>
                <a:spcPts val="600"/>
              </a:spcAft>
              <a:defRPr sz="14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70C187E0-20D0-F7FF-79B9-F04FD6912A4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2688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003C70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1BC731CC-642E-FB66-5FD0-1285316114E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2160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83C8507-E210-DECE-2D86-30260E35228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231600" y="3968525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3357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9">
          <p15:clr>
            <a:srgbClr val="FFC000"/>
          </p15:clr>
        </p15:guide>
        <p15:guide id="2" orient="horz" pos="2497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5799">
          <p15:clr>
            <a:srgbClr val="FFC000"/>
          </p15:clr>
        </p15:guide>
        <p15:guide id="6" pos="5617">
          <p15:clr>
            <a:srgbClr val="FFC000"/>
          </p15:clr>
        </p15:guide>
        <p15:guide id="7" pos="3912">
          <p15:clr>
            <a:srgbClr val="FFC000"/>
          </p15:clr>
        </p15:guide>
        <p15:guide id="8" pos="3754">
          <p15:clr>
            <a:srgbClr val="FFC000"/>
          </p15:clr>
        </p15:guide>
        <p15:guide id="9" pos="2055">
          <p15:clr>
            <a:srgbClr val="FFC000"/>
          </p15:clr>
        </p15:guide>
        <p15:guide id="10" pos="1873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ght with picture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>
            <a:extLst>
              <a:ext uri="{FF2B5EF4-FFF2-40B4-BE49-F238E27FC236}">
                <a16:creationId xmlns:a16="http://schemas.microsoft.com/office/drawing/2014/main" id="{0DDA66E8-9E80-6F8E-3097-58A7888CC3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2418168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7000" b="0" kern="1200" spc="-500" baseline="0">
                <a:solidFill>
                  <a:schemeClr val="accent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CF035E-3E24-71F2-ECCF-0FC3A9F69A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EFAE0E-A49B-4091-85D7-B91D0281AE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E0787F05-BFE0-BCD8-3023-E6D2DDA482BC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A7429042-57AB-06D1-342B-2011144DE1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2700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1350">
          <p15:clr>
            <a:srgbClr val="FFC000"/>
          </p15:clr>
        </p15:guide>
        <p15:guide id="3" orient="horz" pos="1518">
          <p15:clr>
            <a:srgbClr val="FFC000"/>
          </p15:clr>
        </p15:guide>
        <p15:guide id="4" pos="170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different Contents with Depos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87EB98-B074-7A44-75A0-1471BA240A4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88001" y="1379538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9EE9B09-12C0-5733-2DA6-5E041426680E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268800" y="1378800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732F8AC-AEB3-A27F-8C44-736695E49607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231600" y="1378800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A1AC30F5-0F2F-BFF5-D1BA-25A2F146EDF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216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003C70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03FA84C-056A-53BE-456B-CCD449F5A7D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2160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003C70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0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84754BB6-3C5A-A7FC-96F2-0712A88702E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880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E974E1D0-D962-84A4-9F54-83801EF3D47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2688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tx2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tx2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tx2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tx2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tx2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tx2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6BCC89B-09E3-E8EB-D377-C04935A26673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316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12021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9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orient="horz" pos="2497">
          <p15:clr>
            <a:srgbClr val="FFC000"/>
          </p15:clr>
        </p15:guide>
        <p15:guide id="5" pos="5799">
          <p15:clr>
            <a:srgbClr val="FFC000"/>
          </p15:clr>
        </p15:guide>
        <p15:guide id="6" pos="5617">
          <p15:clr>
            <a:srgbClr val="FFC000"/>
          </p15:clr>
        </p15:guide>
        <p15:guide id="7" pos="3912">
          <p15:clr>
            <a:srgbClr val="FFC000"/>
          </p15:clr>
        </p15:guide>
        <p15:guide id="8" pos="3754">
          <p15:clr>
            <a:srgbClr val="FFC000"/>
          </p15:clr>
        </p15:guide>
        <p15:guide id="9" pos="2055">
          <p15:clr>
            <a:srgbClr val="FFC000"/>
          </p15:clr>
        </p15:guide>
        <p15:guide id="10" pos="1873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arge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83528461-6E55-5C10-2CBB-BE461203F371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287335" y="212400"/>
            <a:ext cx="8567739" cy="6073775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B581DD6D-83FF-0267-E76E-43ED8CE245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267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4">
          <p15:clr>
            <a:srgbClr val="FFC000"/>
          </p15:clr>
        </p15:guide>
        <p15:guide id="2" pos="5176">
          <p15:clr>
            <a:srgbClr val="FFC000"/>
          </p15:clr>
        </p15:guide>
        <p15:guide id="3" pos="5585">
          <p15:clr>
            <a:srgbClr val="FFC000"/>
          </p15:clr>
        </p15:guide>
        <p15:guide id="4" orient="horz" pos="3958">
          <p15:clr>
            <a:srgbClr val="FFC000"/>
          </p15:clr>
        </p15:guide>
        <p15:guide id="5" orient="horz" pos="865">
          <p15:clr>
            <a:srgbClr val="FFC000"/>
          </p15:clr>
        </p15:guide>
        <p15:guide id="6" pos="5762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arge dark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83528461-6E55-5C10-2CBB-BE461203F371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287338" y="212400"/>
            <a:ext cx="8568000" cy="6073775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CAC3FDC3-BFBF-F503-C15E-859DD8CB74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  <a:solidFill>
            <a:srgbClr val="003C70"/>
          </a:solidFill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179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4">
          <p15:clr>
            <a:srgbClr val="FFC000"/>
          </p15:clr>
        </p15:guide>
        <p15:guide id="2" pos="5176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5585">
          <p15:clr>
            <a:srgbClr val="FFC000"/>
          </p15:clr>
        </p15:guide>
        <p15:guide id="6" pos="5762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mall light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9" name="Table Placeholder 14">
            <a:extLst>
              <a:ext uri="{FF2B5EF4-FFF2-40B4-BE49-F238E27FC236}">
                <a16:creationId xmlns:a16="http://schemas.microsoft.com/office/drawing/2014/main" id="{7BE4ABD4-8A17-D127-FE2B-06483E4EF321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287338" y="212400"/>
            <a:ext cx="5356225" cy="6073775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16741C30-F2D2-5A43-164C-4D6DA6BFA2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487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pos="3556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ith sub-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0F317-4110-93B3-B9DE-2463263AF9CA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73C78F-543D-0FE5-AC6D-97A58D2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A1648-417E-59AD-2CA3-D844E7D053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able Placeholder 11">
            <a:extLst>
              <a:ext uri="{FF2B5EF4-FFF2-40B4-BE49-F238E27FC236}">
                <a16:creationId xmlns:a16="http://schemas.microsoft.com/office/drawing/2014/main" id="{19E379EB-7AC3-7232-E7ED-82AAD359758C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287338" y="1378800"/>
            <a:ext cx="11617200" cy="49032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212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small light, Logo neg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49018480-D069-72D4-6596-EE4F496671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1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95">
          <p15:clr>
            <a:srgbClr val="FFC000"/>
          </p15:clr>
        </p15:guide>
        <p15:guide id="2" pos="871">
          <p15:clr>
            <a:srgbClr val="FFC000"/>
          </p15:clr>
        </p15:guide>
        <p15:guide id="3" orient="horz" pos="2904">
          <p15:clr>
            <a:srgbClr val="FFC000"/>
          </p15:clr>
        </p15:guide>
        <p15:guide id="4" orient="horz" pos="1898">
          <p15:clr>
            <a:srgbClr val="FFC000"/>
          </p15:clr>
        </p15:guide>
        <p15:guide id="5" orient="horz" pos="906">
          <p15:clr>
            <a:srgbClr val="FFC000"/>
          </p15:clr>
        </p15:guide>
        <p15:guide id="6" orient="horz" pos="3958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pos="7500">
          <p15:clr>
            <a:srgbClr val="FFC000"/>
          </p15:clr>
        </p15:guide>
        <p15:guide id="9" pos="181">
          <p15:clr>
            <a:srgbClr val="FFC000"/>
          </p15:clr>
        </p15:guide>
        <p15:guide id="10" orient="horz" pos="4142">
          <p15:clr>
            <a:srgbClr val="FFC000"/>
          </p15:clr>
        </p15:guide>
        <p15:guide id="11" orient="horz" pos="169">
          <p15:clr>
            <a:srgbClr val="FFC00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small light, Logo po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2053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4">
          <p15:clr>
            <a:srgbClr val="FFC000"/>
          </p15:clr>
        </p15:guide>
        <p15:guide id="2" orient="horz" pos="1898">
          <p15:clr>
            <a:srgbClr val="FFC000"/>
          </p15:clr>
        </p15:guide>
        <p15:guide id="3" orient="horz" pos="906">
          <p15:clr>
            <a:srgbClr val="FFC000"/>
          </p15:clr>
        </p15:guide>
        <p15:guide id="4" orient="horz" pos="3958">
          <p15:clr>
            <a:srgbClr val="FFC000"/>
          </p15:clr>
        </p15:guide>
        <p15:guide id="5" orient="horz" pos="865">
          <p15:clr>
            <a:srgbClr val="FFC000"/>
          </p15:clr>
        </p15:guide>
        <p15:guide id="6" pos="873">
          <p15:clr>
            <a:srgbClr val="FFC000"/>
          </p15:clr>
        </p15:guide>
        <p15:guide id="7" pos="3393">
          <p15:clr>
            <a:srgbClr val="FFC000"/>
          </p15:clr>
        </p15:guide>
        <p15:guide id="8" pos="7500">
          <p15:clr>
            <a:srgbClr val="FFC000"/>
          </p15:clr>
        </p15:guide>
        <p15:guide id="9" pos="181">
          <p15:clr>
            <a:srgbClr val="FFC000"/>
          </p15:clr>
        </p15:guide>
        <p15:guide id="10" orient="horz" pos="4142">
          <p15:clr>
            <a:srgbClr val="FFC000"/>
          </p15:clr>
        </p15:guide>
        <p15:guide id="11" orient="horz" pos="169">
          <p15:clr>
            <a:srgbClr val="FFC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lar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C9466D7-7026-11D5-2238-B3F59D15C2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6" y="272485"/>
            <a:ext cx="7669213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8F17C3B9-E8D0-267E-7146-1E9673361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76759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7E9B2076-03CD-8440-CDC8-1DA0E2603DEC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476618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CED04CBA-DE01-EE53-BB6F-07F996F8A4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78483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58DA222D-C25A-D45A-7FCE-85430FF2839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76883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4CE00001-8D51-75EC-4465-EED81474FE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8483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403703E-D04C-61D4-A8F8-131F1E60712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476883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461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7">
          <p15:clr>
            <a:srgbClr val="FFC000"/>
          </p15:clr>
        </p15:guide>
        <p15:guide id="2" pos="2373">
          <p15:clr>
            <a:srgbClr val="FFC000"/>
          </p15:clr>
        </p15:guide>
        <p15:guide id="3" pos="5009">
          <p15:clr>
            <a:srgbClr val="FFC000"/>
          </p15:clr>
        </p15:guide>
        <p15:guide id="4" pos="2819">
          <p15:clr>
            <a:srgbClr val="FFC000"/>
          </p15:clr>
        </p15:guide>
        <p15:guide id="5" orient="horz" pos="2904">
          <p15:clr>
            <a:srgbClr val="FFC000"/>
          </p15:clr>
        </p15:guide>
        <p15:guide id="6" orient="horz" pos="1898">
          <p15:clr>
            <a:srgbClr val="FFC000"/>
          </p15:clr>
        </p15:guide>
        <p15:guide id="7" pos="871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orient="horz" pos="906">
          <p15:clr>
            <a:srgbClr val="FFC000"/>
          </p15:clr>
        </p15:guide>
        <p15:guide id="10" orient="horz" pos="3958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lar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C9466D7-7026-11D5-2238-B3F59D15C2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Graphic 4">
            <a:extLst>
              <a:ext uri="{FF2B5EF4-FFF2-40B4-BE49-F238E27FC236}">
                <a16:creationId xmlns:a16="http://schemas.microsoft.com/office/drawing/2014/main" id="{18856E0D-BA88-5530-3929-C472EBBF987C}"/>
              </a:ext>
            </a:extLst>
          </p:cNvPr>
          <p:cNvSpPr/>
          <p:nvPr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680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8F17C3B9-E8D0-267E-7146-1E9673361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76760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7E9B2076-03CD-8440-CDC8-1DA0E2603DEC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476618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CED04CBA-DE01-EE53-BB6F-07F996F8A4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78483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58DA222D-C25A-D45A-7FCE-85430FF2839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76883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4CE00001-8D51-75EC-4465-EED81474FE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8483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403703E-D04C-61D4-A8F8-131F1E60712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476883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7" name="Gerade Verbindung 61">
            <a:extLst>
              <a:ext uri="{FF2B5EF4-FFF2-40B4-BE49-F238E27FC236}">
                <a16:creationId xmlns:a16="http://schemas.microsoft.com/office/drawing/2014/main" id="{80C5D521-F036-9A83-0F87-2C8872A57862}"/>
              </a:ext>
            </a:extLst>
          </p:cNvPr>
          <p:cNvCxnSpPr>
            <a:cxnSpLocks/>
          </p:cNvCxnSpPr>
          <p:nvPr/>
        </p:nvCxnSpPr>
        <p:spPr>
          <a:xfrm>
            <a:off x="0" y="1036800"/>
            <a:ext cx="803583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151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7">
          <p15:clr>
            <a:srgbClr val="FFC000"/>
          </p15:clr>
        </p15:guide>
        <p15:guide id="2" pos="2373">
          <p15:clr>
            <a:srgbClr val="FFC000"/>
          </p15:clr>
        </p15:guide>
        <p15:guide id="3" pos="5009">
          <p15:clr>
            <a:srgbClr val="FFC000"/>
          </p15:clr>
        </p15:guide>
        <p15:guide id="4" pos="2819">
          <p15:clr>
            <a:srgbClr val="FFC000"/>
          </p15:clr>
        </p15:guide>
        <p15:guide id="5" pos="871">
          <p15:clr>
            <a:srgbClr val="FFC000"/>
          </p15:clr>
        </p15:guide>
        <p15:guide id="6" orient="horz" pos="2904">
          <p15:clr>
            <a:srgbClr val="FFC000"/>
          </p15:clr>
        </p15:guide>
        <p15:guide id="7" orient="horz" pos="1898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orient="horz" pos="906">
          <p15:clr>
            <a:srgbClr val="FFC000"/>
          </p15:clr>
        </p15:guide>
        <p15:guide id="10" orient="horz" pos="3958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small light QR, Logo neg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48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925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6FAD160A-5087-060D-4C02-28422E86AB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0139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0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pos="3395">
          <p15:clr>
            <a:srgbClr val="FFC000"/>
          </p15:clr>
        </p15:guide>
        <p15:guide id="4" pos="933">
          <p15:clr>
            <a:srgbClr val="FFC000"/>
          </p15:clr>
        </p15:guide>
        <p15:guide id="5" orient="horz" pos="2904">
          <p15:clr>
            <a:srgbClr val="FFC000"/>
          </p15:clr>
        </p15:guide>
        <p15:guide id="6" orient="horz" pos="1898">
          <p15:clr>
            <a:srgbClr val="FFC000"/>
          </p15:clr>
        </p15:guide>
        <p15:guide id="7" orient="horz" pos="906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dark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2418168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7000" b="0" kern="1200" spc="-500" baseline="0">
                <a:solidFill>
                  <a:schemeClr val="bg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3B064D5-18ED-8929-D911-00D06ABEE77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275322-EFFD-0088-ECD5-FCBA7849045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B9B72513-928F-1512-0B21-FDD4422728AA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rgbClr val="003C70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CE893564-5FFC-47CD-6D92-4F47BAD9A0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rgbClr val="003C70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6657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1529">
          <p15:clr>
            <a:srgbClr val="FFC000"/>
          </p15:clr>
        </p15:guide>
        <p15:guide id="3" orient="horz" pos="1347">
          <p15:clr>
            <a:srgbClr val="FFC000"/>
          </p15:clr>
        </p15:guide>
        <p15:guide id="4" pos="170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small light QR, Logo po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48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925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792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0">
          <p15:clr>
            <a:srgbClr val="FFC000"/>
          </p15:clr>
        </p15:guide>
        <p15:guide id="2" pos="933">
          <p15:clr>
            <a:srgbClr val="FFC000"/>
          </p15:clr>
        </p15:guide>
        <p15:guide id="3" pos="3395">
          <p15:clr>
            <a:srgbClr val="FFC000"/>
          </p15:clr>
        </p15:guide>
        <p15:guide id="4" orient="horz" pos="2904">
          <p15:clr>
            <a:srgbClr val="FFC000"/>
          </p15:clr>
        </p15:guide>
        <p15:guide id="5" orient="horz" pos="1898">
          <p15:clr>
            <a:srgbClr val="FFC000"/>
          </p15:clr>
        </p15:guide>
        <p15:guide id="6" orient="horz" pos="906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orient="horz" pos="3958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large light Q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C45C550-67C8-8E0E-76B2-10F7BAEB016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11048" y="145080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226A956F-BF0B-11B1-BA4F-4767F296B544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6170764" y="13824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11">
            <a:extLst>
              <a:ext uri="{FF2B5EF4-FFF2-40B4-BE49-F238E27FC236}">
                <a16:creationId xmlns:a16="http://schemas.microsoft.com/office/drawing/2014/main" id="{438F40B8-7652-6E88-69E0-B92FC96B573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373429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8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72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6066C757-B811-657B-3587-2CB2D5EE671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09600" y="3034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Picture Placeholder 14">
            <a:extLst>
              <a:ext uri="{FF2B5EF4-FFF2-40B4-BE49-F238E27FC236}">
                <a16:creationId xmlns:a16="http://schemas.microsoft.com/office/drawing/2014/main" id="{D75DA5FC-FAB4-BE50-0AF6-4801151645F3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6170400" y="29700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553B8A1D-0F52-FC28-B579-9725A8C28F5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409600" y="4618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Picture Placeholder 14">
            <a:extLst>
              <a:ext uri="{FF2B5EF4-FFF2-40B4-BE49-F238E27FC236}">
                <a16:creationId xmlns:a16="http://schemas.microsoft.com/office/drawing/2014/main" id="{BFE1E6D1-EC3E-D0A2-7C0B-A87A65F18092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6170400" y="45504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11">
            <a:extLst>
              <a:ext uri="{FF2B5EF4-FFF2-40B4-BE49-F238E27FC236}">
                <a16:creationId xmlns:a16="http://schemas.microsoft.com/office/drawing/2014/main" id="{C3D8EE79-660C-D0CF-5B57-462E641198C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728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Picture Placeholder 11">
            <a:extLst>
              <a:ext uri="{FF2B5EF4-FFF2-40B4-BE49-F238E27FC236}">
                <a16:creationId xmlns:a16="http://schemas.microsoft.com/office/drawing/2014/main" id="{7BA30EF2-DB58-8C3A-3BAA-2769229A1D4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3728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729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1">
          <p15:clr>
            <a:srgbClr val="FFC000"/>
          </p15:clr>
        </p15:guide>
        <p15:guide id="2" pos="5289">
          <p15:clr>
            <a:srgbClr val="FFC000"/>
          </p15:clr>
        </p15:guide>
        <p15:guide id="3" pos="4633">
          <p15:clr>
            <a:srgbClr val="FFC000"/>
          </p15:clr>
        </p15:guide>
        <p15:guide id="4" pos="7095">
          <p15:clr>
            <a:srgbClr val="FFC000"/>
          </p15:clr>
        </p15:guide>
        <p15:guide id="5" pos="1590">
          <p15:clr>
            <a:srgbClr val="FFC000"/>
          </p15:clr>
        </p15:guide>
        <p15:guide id="6" pos="933">
          <p15:clr>
            <a:srgbClr val="FFC000"/>
          </p15:clr>
        </p15:guide>
        <p15:guide id="7" pos="3395">
          <p15:clr>
            <a:srgbClr val="FFC000"/>
          </p15:clr>
        </p15:guide>
        <p15:guide id="8" orient="horz" pos="2904">
          <p15:clr>
            <a:srgbClr val="FFC000"/>
          </p15:clr>
        </p15:guide>
        <p15:guide id="9" orient="horz" pos="1898">
          <p15:clr>
            <a:srgbClr val="FFC000"/>
          </p15:clr>
        </p15:guide>
        <p15:guide id="10" orient="horz" pos="906">
          <p15:clr>
            <a:srgbClr val="FFC000"/>
          </p15:clr>
        </p15:guide>
        <p15:guide id="11" orient="horz" pos="865">
          <p15:clr>
            <a:srgbClr val="FFC000"/>
          </p15:clr>
        </p15:guide>
        <p15:guide id="12" orient="horz" pos="3958">
          <p15:clr>
            <a:srgbClr val="FFC000"/>
          </p15:clr>
        </p15:guide>
        <p15:guide id="13" pos="7500">
          <p15:clr>
            <a:srgbClr val="FFC000"/>
          </p15:clr>
        </p15:guide>
        <p15:guide id="14" pos="181">
          <p15:clr>
            <a:srgbClr val="FFC000"/>
          </p15:clr>
        </p15:guide>
        <p15:guide id="15" orient="horz" pos="4142">
          <p15:clr>
            <a:srgbClr val="FFC000"/>
          </p15:clr>
        </p15:guide>
        <p15:guide id="16" orient="horz" pos="169">
          <p15:clr>
            <a:srgbClr val="FFC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BCED6-8891-A832-3C0A-9345E3B25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975940-1288-FF90-7A5E-C4F6F23C3282}"/>
              </a:ext>
            </a:extLst>
          </p:cNvPr>
          <p:cNvSpPr/>
          <p:nvPr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9F3BD1D-1CC2-2F07-D67E-F6637C2FBA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87CFEA-9729-4263-17A0-DA881A8DA1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7091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9">
          <p15:clr>
            <a:srgbClr val="FFC000"/>
          </p15:clr>
        </p15:guide>
        <p15:guide id="2" pos="2503">
          <p15:clr>
            <a:srgbClr val="FFC000"/>
          </p15:clr>
        </p15:guide>
        <p15:guide id="3" pos="2071">
          <p15:clr>
            <a:srgbClr val="FFC000"/>
          </p15:clr>
        </p15:guide>
        <p15:guide id="4" pos="1891">
          <p15:clr>
            <a:srgbClr val="FFC000"/>
          </p15:clr>
        </p15:guide>
        <p15:guide id="5" pos="1436">
          <p15:clr>
            <a:srgbClr val="FFC000"/>
          </p15:clr>
        </p15:guide>
        <p15:guide id="6" pos="1255">
          <p15:clr>
            <a:srgbClr val="FFC000"/>
          </p15:clr>
        </p15:guide>
        <p15:guide id="7" pos="804">
          <p15:clr>
            <a:srgbClr val="FFC000"/>
          </p15:clr>
        </p15:guide>
        <p15:guide id="8" pos="620">
          <p15:clr>
            <a:srgbClr val="FFC000"/>
          </p15:clr>
        </p15:guide>
        <p15:guide id="9" pos="181">
          <p15:clr>
            <a:srgbClr val="FFC000"/>
          </p15:clr>
        </p15:guide>
        <p15:guide id="10" pos="2684">
          <p15:clr>
            <a:srgbClr val="FFC000"/>
          </p15:clr>
        </p15:guide>
        <p15:guide id="11" pos="3295">
          <p15:clr>
            <a:srgbClr val="FFC000"/>
          </p15:clr>
        </p15:guide>
        <p15:guide id="12" pos="3113">
          <p15:clr>
            <a:srgbClr val="FFC000"/>
          </p15:clr>
        </p15:guide>
        <p15:guide id="13" pos="3751">
          <p15:clr>
            <a:srgbClr val="FFC000"/>
          </p15:clr>
        </p15:guide>
        <p15:guide id="14" pos="7061">
          <p15:clr>
            <a:srgbClr val="FFC000"/>
          </p15:clr>
        </p15:guide>
        <p15:guide id="15" pos="6901">
          <p15:clr>
            <a:srgbClr val="FFC000"/>
          </p15:clr>
        </p15:guide>
        <p15:guide id="16" pos="6449">
          <p15:clr>
            <a:srgbClr val="FFC000"/>
          </p15:clr>
        </p15:guide>
        <p15:guide id="17" pos="6269">
          <p15:clr>
            <a:srgbClr val="FFC000"/>
          </p15:clr>
        </p15:guide>
        <p15:guide id="18" pos="5816">
          <p15:clr>
            <a:srgbClr val="FFC000"/>
          </p15:clr>
        </p15:guide>
        <p15:guide id="19" pos="5634">
          <p15:clr>
            <a:srgbClr val="FFC000"/>
          </p15:clr>
        </p15:guide>
        <p15:guide id="20" pos="5178">
          <p15:clr>
            <a:srgbClr val="FFC000"/>
          </p15:clr>
        </p15:guide>
        <p15:guide id="21" pos="4998">
          <p15:clr>
            <a:srgbClr val="FFC000"/>
          </p15:clr>
        </p15:guide>
        <p15:guide id="22" pos="4544">
          <p15:clr>
            <a:srgbClr val="FFC000"/>
          </p15:clr>
        </p15:guide>
        <p15:guide id="23" pos="4385">
          <p15:clr>
            <a:srgbClr val="FFC000"/>
          </p15:clr>
        </p15:guide>
        <p15:guide id="24" pos="3931">
          <p15:clr>
            <a:srgbClr val="FFC000"/>
          </p15:clr>
        </p15:guide>
        <p15:guide id="25" orient="horz" pos="4141">
          <p15:clr>
            <a:srgbClr val="FFC000"/>
          </p15:clr>
        </p15:guide>
        <p15:guide id="26" orient="horz" pos="3962">
          <p15:clr>
            <a:srgbClr val="FFC000"/>
          </p15:clr>
        </p15:guide>
        <p15:guide id="27" orient="horz" pos="166">
          <p15:clr>
            <a:srgbClr val="FFC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3312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1BAE6905-FD07-5B0D-CB7E-5FE54EA1EA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82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Dark Blue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pic>
        <p:nvPicPr>
          <p:cNvPr id="2" name="Grafik 10">
            <a:extLst>
              <a:ext uri="{FF2B5EF4-FFF2-40B4-BE49-F238E27FC236}">
                <a16:creationId xmlns:a16="http://schemas.microsoft.com/office/drawing/2014/main" id="{6971360E-DEC6-482A-0192-70EC9DBBF4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818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Gray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7307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0">
            <a:extLst>
              <a:ext uri="{FF2B5EF4-FFF2-40B4-BE49-F238E27FC236}">
                <a16:creationId xmlns:a16="http://schemas.microsoft.com/office/drawing/2014/main" id="{B94BCFD9-747C-BA52-E311-DE236FD4E5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8645" y="3200400"/>
            <a:ext cx="347471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6138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060BA6-1AFE-6EC1-D964-3568D124C7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9012CB-9309-1EF8-7AD0-F24DD6A5F5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338" y="2375159"/>
            <a:ext cx="5310187" cy="720000"/>
          </a:xfrm>
          <a:noFill/>
        </p:spPr>
        <p:txBody>
          <a:bodyPr anchor="t" anchorCtr="0"/>
          <a:lstStyle>
            <a:lvl1pPr algn="l">
              <a:lnSpc>
                <a:spcPct val="98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6B90887-ED35-5A20-7C9B-459ACC258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525" y="3024913"/>
            <a:ext cx="5310000" cy="1800000"/>
          </a:xfrm>
        </p:spPr>
        <p:txBody>
          <a:bodyPr tIns="259200"/>
          <a:lstStyle>
            <a:lvl1pPr marL="0" indent="0" algn="l">
              <a:lnSpc>
                <a:spcPct val="100000"/>
              </a:lnSpc>
              <a:spcAft>
                <a:spcPts val="16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00" b="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buNone/>
              <a:defRPr sz="1400"/>
            </a:lvl7pPr>
            <a:lvl8pPr marL="0" indent="0" algn="l">
              <a:lnSpc>
                <a:spcPct val="100000"/>
              </a:lnSpc>
              <a:buNone/>
              <a:defRPr sz="1400"/>
            </a:lvl8pPr>
            <a:lvl9pPr marL="0" indent="0" algn="l">
              <a:lnSpc>
                <a:spcPct val="100000"/>
              </a:lnSpc>
              <a:buNone/>
              <a:defRPr sz="1400"/>
            </a:lvl9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9C6DEC-DBDD-FC01-FA7E-98919C01D9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38" y="283377"/>
            <a:ext cx="2311200" cy="30338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1BBB2-EB11-D2F5-8AC3-BBF9BB3D2A20}"/>
              </a:ext>
            </a:extLst>
          </p:cNvPr>
          <p:cNvCxnSpPr/>
          <p:nvPr userDrawn="1"/>
        </p:nvCxnSpPr>
        <p:spPr>
          <a:xfrm>
            <a:off x="287336" y="2093439"/>
            <a:ext cx="531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5A68FFC5-B3C2-494C-58EE-8E70F9FDCA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15" y="6440208"/>
            <a:ext cx="1515600" cy="16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084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96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pos="7497">
          <p15:clr>
            <a:srgbClr val="FFC000"/>
          </p15:clr>
        </p15:guide>
        <p15:guide id="5" pos="178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73">
          <p15:clr>
            <a:srgbClr val="FFC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060BA6-1AFE-6EC1-D964-3568D124C7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9012CB-9309-1EF8-7AD0-F24DD6A5F5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338" y="2375159"/>
            <a:ext cx="5310187" cy="720000"/>
          </a:xfrm>
          <a:noFill/>
        </p:spPr>
        <p:txBody>
          <a:bodyPr anchor="t" anchorCtr="0"/>
          <a:lstStyle>
            <a:lvl1pPr algn="l">
              <a:lnSpc>
                <a:spcPct val="98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6B90887-ED35-5A20-7C9B-459ACC258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336" y="3024000"/>
            <a:ext cx="5310000" cy="1800000"/>
          </a:xfrm>
        </p:spPr>
        <p:txBody>
          <a:bodyPr tIns="259200"/>
          <a:lstStyle>
            <a:lvl1pPr marL="0" indent="0" algn="l">
              <a:spcAft>
                <a:spcPts val="1600"/>
              </a:spcAft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9C6DEC-DBDD-FC01-FA7E-98919C01D9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096" y="283377"/>
            <a:ext cx="2305683" cy="30338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1BBB2-EB11-D2F5-8AC3-BBF9BB3D2A20}"/>
              </a:ext>
            </a:extLst>
          </p:cNvPr>
          <p:cNvCxnSpPr/>
          <p:nvPr userDrawn="1"/>
        </p:nvCxnSpPr>
        <p:spPr>
          <a:xfrm>
            <a:off x="287336" y="2093439"/>
            <a:ext cx="531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DB840ED-5D5E-5D88-FCF7-2D2ABA7BB0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315" y="6440208"/>
            <a:ext cx="1515600" cy="16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763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3839">
          <p15:clr>
            <a:srgbClr val="FFC000"/>
          </p15:clr>
        </p15:guide>
        <p15:guide id="4" orient="horz" pos="1495">
          <p15:clr>
            <a:srgbClr val="FFC000"/>
          </p15:clr>
        </p15:guide>
        <p15:guide id="5" pos="3525">
          <p15:clr>
            <a:srgbClr val="FFC000"/>
          </p15:clr>
        </p15:guide>
        <p15:guide id="6" pos="7500">
          <p15:clr>
            <a:srgbClr val="FFC000"/>
          </p15:clr>
        </p15:guide>
        <p15:guide id="7" pos="181">
          <p15:clr>
            <a:srgbClr val="FFC000"/>
          </p15:clr>
        </p15:guide>
        <p15:guide id="8" orient="horz" pos="4142">
          <p15:clr>
            <a:srgbClr val="FFC000"/>
          </p15:clr>
        </p15:guide>
        <p15:guide id="9" orient="horz" pos="169">
          <p15:clr>
            <a:srgbClr val="FFC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ght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200" y="1227600"/>
            <a:ext cx="5634000" cy="846000"/>
          </a:xfrm>
        </p:spPr>
        <p:txBody>
          <a:bodyPr anchor="b" anchorCtr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EC3744-8767-F352-6BF4-168B27406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63393" y="2419200"/>
            <a:ext cx="5634000" cy="972000"/>
          </a:xfrm>
        </p:spPr>
        <p:txBody>
          <a:bodyPr tIns="72000"/>
          <a:lstStyle>
            <a:lvl1pPr marL="0" indent="0"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Grafik 10">
            <a:extLst>
              <a:ext uri="{FF2B5EF4-FFF2-40B4-BE49-F238E27FC236}">
                <a16:creationId xmlns:a16="http://schemas.microsoft.com/office/drawing/2014/main" id="{BA20CB27-0813-0E71-A6A9-F50F88640E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5000" b="0" kern="1200" spc="-500" baseline="0">
                <a:solidFill>
                  <a:schemeClr val="accent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5E4A31-4072-9922-D0F5-241C14B1A27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D7E3-B707-E68D-52EF-D4243EB0ECE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8" name="Online Image Placeholder 9">
            <a:extLst>
              <a:ext uri="{FF2B5EF4-FFF2-40B4-BE49-F238E27FC236}">
                <a16:creationId xmlns:a16="http://schemas.microsoft.com/office/drawing/2014/main" id="{A2F85F0E-6716-6BB7-327E-848037ACEF74}"/>
              </a:ext>
            </a:extLst>
          </p:cNvPr>
          <p:cNvSpPr>
            <a:spLocks noGrp="1" noChangeAspect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Online Image Placeholder 9">
            <a:extLst>
              <a:ext uri="{FF2B5EF4-FFF2-40B4-BE49-F238E27FC236}">
                <a16:creationId xmlns:a16="http://schemas.microsoft.com/office/drawing/2014/main" id="{2C4BC777-9D4E-C7CA-3A3A-715BA4AE1BB3}"/>
              </a:ext>
            </a:extLst>
          </p:cNvPr>
          <p:cNvSpPr>
            <a:spLocks noGrp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1916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04">
          <p15:clr>
            <a:srgbClr val="FFC000"/>
          </p15:clr>
        </p15:guide>
        <p15:guide id="2" orient="horz" pos="1521">
          <p15:clr>
            <a:srgbClr val="FFC000"/>
          </p15:clr>
        </p15:guide>
        <p15:guide id="3" orient="horz" pos="1347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ght with picture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>
            <a:extLst>
              <a:ext uri="{FF2B5EF4-FFF2-40B4-BE49-F238E27FC236}">
                <a16:creationId xmlns:a16="http://schemas.microsoft.com/office/drawing/2014/main" id="{0DDA66E8-9E80-6F8E-3097-58A7888CC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2418168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7000" b="0" kern="1200" spc="-500" baseline="0">
                <a:solidFill>
                  <a:schemeClr val="accent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00</a:t>
            </a:r>
            <a:endParaRPr lang="en-GB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CF035E-3E24-71F2-ECCF-0FC3A9F69A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EFAE0E-A49B-4091-85D7-B91D0281AE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E0787F05-BFE0-BCD8-3023-E6D2DDA482BC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 noProof="0"/>
              <a:t>.</a:t>
            </a:r>
            <a:endParaRPr lang="en-GB" noProof="0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A7429042-57AB-06D1-342B-2011144DE1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 noProof="0"/>
              <a:t>.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61582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1350">
          <p15:clr>
            <a:srgbClr val="FFC000"/>
          </p15:clr>
        </p15:guide>
        <p15:guide id="3" orient="horz" pos="1518">
          <p15:clr>
            <a:srgbClr val="FFC000"/>
          </p15:clr>
        </p15:guide>
        <p15:guide id="4" pos="170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dark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2418168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7000" b="0" kern="1200" spc="-500" baseline="0">
                <a:solidFill>
                  <a:schemeClr val="bg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3B064D5-18ED-8929-D911-00D06ABEE77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275322-EFFD-0088-ECD5-FCBA7849045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B9B72513-928F-1512-0B21-FDD4422728AA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rgbClr val="3C3E00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CE893564-5FFC-47CD-6D92-4F47BAD9A0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rgbClr val="3C3E00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6633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1529">
          <p15:clr>
            <a:srgbClr val="FFC000"/>
          </p15:clr>
        </p15:guide>
        <p15:guide id="3" orient="horz" pos="1347">
          <p15:clr>
            <a:srgbClr val="FFC000"/>
          </p15:clr>
        </p15:guide>
        <p15:guide id="4" pos="170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ght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200" y="1227600"/>
            <a:ext cx="5634000" cy="846000"/>
          </a:xfrm>
        </p:spPr>
        <p:txBody>
          <a:bodyPr anchor="b" anchorCtr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EC3744-8767-F352-6BF4-168B27406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63393" y="2419200"/>
            <a:ext cx="5634000" cy="972000"/>
          </a:xfrm>
        </p:spPr>
        <p:txBody>
          <a:bodyPr tIns="72000"/>
          <a:lstStyle>
            <a:lvl1pPr marL="0" indent="0"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Grafik 10">
            <a:extLst>
              <a:ext uri="{FF2B5EF4-FFF2-40B4-BE49-F238E27FC236}">
                <a16:creationId xmlns:a16="http://schemas.microsoft.com/office/drawing/2014/main" id="{BA20CB27-0813-0E71-A6A9-F50F88640E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5000" b="0" kern="1200" spc="-500" baseline="0">
                <a:solidFill>
                  <a:schemeClr val="accent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5E4A31-4072-9922-D0F5-241C14B1A27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1D7E3-B707-E68D-52EF-D4243EB0ECE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Online Image Placeholder 9">
            <a:extLst>
              <a:ext uri="{FF2B5EF4-FFF2-40B4-BE49-F238E27FC236}">
                <a16:creationId xmlns:a16="http://schemas.microsoft.com/office/drawing/2014/main" id="{A2F85F0E-6716-6BB7-327E-848037ACEF74}"/>
              </a:ext>
            </a:extLst>
          </p:cNvPr>
          <p:cNvSpPr>
            <a:spLocks noGrp="1" noChangeAspect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Online Image Placeholder 9">
            <a:extLst>
              <a:ext uri="{FF2B5EF4-FFF2-40B4-BE49-F238E27FC236}">
                <a16:creationId xmlns:a16="http://schemas.microsoft.com/office/drawing/2014/main" id="{2C4BC777-9D4E-C7CA-3A3A-715BA4AE1BB3}"/>
              </a:ext>
            </a:extLst>
          </p:cNvPr>
          <p:cNvSpPr>
            <a:spLocks noGrp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050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04">
          <p15:clr>
            <a:srgbClr val="FFC000"/>
          </p15:clr>
        </p15:guide>
        <p15:guide id="2" orient="horz" pos="1521">
          <p15:clr>
            <a:srgbClr val="FFC000"/>
          </p15:clr>
        </p15:guide>
        <p15:guide id="3" orient="horz" pos="1347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200" y="1227600"/>
            <a:ext cx="5634000" cy="846000"/>
          </a:xfrm>
        </p:spPr>
        <p:txBody>
          <a:bodyPr anchor="b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EC3744-8767-F352-6BF4-168B27406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63393" y="2419200"/>
            <a:ext cx="5634000" cy="972000"/>
          </a:xfrm>
        </p:spPr>
        <p:txBody>
          <a:bodyPr tIns="72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buNone/>
              <a:defRPr sz="1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5000" b="0" kern="1200" spc="-500" baseline="0">
                <a:solidFill>
                  <a:schemeClr val="bg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5" name="Online Image Placeholder 9">
            <a:extLst>
              <a:ext uri="{FF2B5EF4-FFF2-40B4-BE49-F238E27FC236}">
                <a16:creationId xmlns:a16="http://schemas.microsoft.com/office/drawing/2014/main" id="{478C4D49-CEE0-F698-6BA8-FA0FCE38B3F9}"/>
              </a:ext>
            </a:extLst>
          </p:cNvPr>
          <p:cNvSpPr>
            <a:spLocks noGrp="1" noChangeAspect="1"/>
          </p:cNvSpPr>
          <p:nvPr>
            <p:ph type="clipArt" sz="quarter" idx="21" hasCustomPrompt="1"/>
          </p:nvPr>
        </p:nvSpPr>
        <p:spPr>
          <a:xfrm>
            <a:off x="288000" y="2228400"/>
            <a:ext cx="3679200" cy="25400"/>
          </a:xfrm>
          <a:solidFill>
            <a:srgbClr val="3C3E00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7" name="Online Image Placeholder 9">
            <a:extLst>
              <a:ext uri="{FF2B5EF4-FFF2-40B4-BE49-F238E27FC236}">
                <a16:creationId xmlns:a16="http://schemas.microsoft.com/office/drawing/2014/main" id="{A376B192-2A46-822B-5534-30CCE0DDCD9F}"/>
              </a:ext>
            </a:extLst>
          </p:cNvPr>
          <p:cNvSpPr>
            <a:spLocks noGrp="1"/>
          </p:cNvSpPr>
          <p:nvPr>
            <p:ph type="clipArt" sz="quarter" idx="22" hasCustomPrompt="1"/>
          </p:nvPr>
        </p:nvSpPr>
        <p:spPr>
          <a:xfrm>
            <a:off x="10751366" y="2228400"/>
            <a:ext cx="1440634" cy="25200"/>
          </a:xfrm>
          <a:solidFill>
            <a:srgbClr val="3C3E00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C732ECB-9388-8CA1-EB01-6E87A925AB1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265200" y="6450420"/>
            <a:ext cx="66564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FEBCB2A-7E50-4B55-C1F3-33448BAC5B2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684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1">
          <p15:clr>
            <a:srgbClr val="FFC000"/>
          </p15:clr>
        </p15:guide>
        <p15:guide id="2" orient="horz" pos="1347">
          <p15:clr>
            <a:srgbClr val="FFC000"/>
          </p15:clr>
        </p15:guide>
        <p15:guide id="3" pos="1704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, Picture large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>
            <a:extLst>
              <a:ext uri="{FF2B5EF4-FFF2-40B4-BE49-F238E27FC236}">
                <a16:creationId xmlns:a16="http://schemas.microsoft.com/office/drawing/2014/main" id="{DCEA1B8A-ACF1-3919-0C08-7E71980EBE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1376363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CF035E-3E24-71F2-ECCF-0FC3A9F69A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EFAE0E-A49B-4091-85D7-B91D0281AE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E0787F05-BFE0-BCD8-3023-E6D2DDA482BC}"/>
              </a:ext>
            </a:extLst>
          </p:cNvPr>
          <p:cNvSpPr>
            <a:spLocks noGrp="1" noChangeAspect="1"/>
          </p:cNvSpPr>
          <p:nvPr>
            <p:ph type="clipArt" sz="quarter" idx="20" hasCustomPrompt="1"/>
          </p:nvPr>
        </p:nvSpPr>
        <p:spPr>
          <a:xfrm>
            <a:off x="288000" y="10368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A7429042-57AB-06D1-342B-2011144DE143}"/>
              </a:ext>
            </a:extLst>
          </p:cNvPr>
          <p:cNvSpPr>
            <a:spLocks noGrp="1"/>
          </p:cNvSpPr>
          <p:nvPr>
            <p:ph type="clipArt" sz="quarter" idx="21" hasCustomPrompt="1"/>
          </p:nvPr>
        </p:nvSpPr>
        <p:spPr>
          <a:xfrm>
            <a:off x="10751366" y="10368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879761B-5C15-26D3-4E48-C9A8F18D168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70" y="1928174"/>
            <a:ext cx="2400300" cy="3060000"/>
          </a:xfrm>
        </p:spPr>
        <p:txBody>
          <a:bodyPr tIns="378000"/>
          <a:lstStyle>
            <a:lvl1pPr>
              <a:defRPr b="0"/>
            </a:lvl1pPr>
            <a:lvl2pPr>
              <a:spcAft>
                <a:spcPts val="1600"/>
              </a:spcAft>
              <a:defRPr/>
            </a:lvl2pPr>
            <a:lvl3pPr marL="0" indent="0">
              <a:buNone/>
              <a:defRPr/>
            </a:lvl3pPr>
            <a:lvl4pPr marL="270000" indent="-270000">
              <a:spcAft>
                <a:spcPts val="1600"/>
              </a:spcAft>
              <a:buFont typeface="Symbol" panose="05050102010706020507" pitchFamily="18" charset="2"/>
              <a:buChar char="-"/>
              <a:defRPr sz="1400" b="0"/>
            </a:lvl4pPr>
            <a:lvl5pPr marL="0" indent="0" algn="l">
              <a:spcAft>
                <a:spcPts val="600"/>
              </a:spcAft>
              <a:buNone/>
              <a:defRPr sz="1400" b="0"/>
            </a:lvl5pPr>
            <a:lvl6pPr marL="270000" indent="-270000" algn="l">
              <a:spcAft>
                <a:spcPts val="1600"/>
              </a:spcAft>
              <a:buFont typeface="Symbol" panose="05050102010706020507" pitchFamily="18" charset="2"/>
              <a:buChar char="-"/>
              <a:defRPr sz="1400" b="0"/>
            </a:lvl6pPr>
            <a:lvl7pPr marL="0" indent="0" algn="l">
              <a:lnSpc>
                <a:spcPct val="100000"/>
              </a:lnSpc>
              <a:spcAft>
                <a:spcPts val="600"/>
              </a:spcAft>
              <a:buNone/>
              <a:defRPr sz="1400" b="0"/>
            </a:lvl7pPr>
            <a:lvl8pPr marL="270000" indent="-270000" algn="l">
              <a:lnSpc>
                <a:spcPct val="100000"/>
              </a:lnSpc>
              <a:spcAft>
                <a:spcPts val="1600"/>
              </a:spcAft>
              <a:buFont typeface="Symbol" panose="05050102010706020507" pitchFamily="18" charset="2"/>
              <a:buChar char="-"/>
              <a:defRPr sz="1400"/>
            </a:lvl8pPr>
            <a:lvl9pPr>
              <a:lnSpc>
                <a:spcPct val="100000"/>
              </a:lnSpc>
              <a:spcAft>
                <a:spcPts val="6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9814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1696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ight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BED2D7BF-9930-126A-5935-B520619010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430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ight, Lin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rgbClr val="3C3E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3" name="Grafik 10">
            <a:extLst>
              <a:ext uri="{FF2B5EF4-FFF2-40B4-BE49-F238E27FC236}">
                <a16:creationId xmlns:a16="http://schemas.microsoft.com/office/drawing/2014/main" id="{FC9AD835-EDF7-941C-5AC5-D89F9EE7FA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44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light, Lin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5011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rk, Lin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7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7C8480-EFC8-037D-4492-0D1A3CE0AEF3}"/>
              </a:ext>
            </a:extLst>
          </p:cNvPr>
          <p:cNvSpPr/>
          <p:nvPr userDrawn="1"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rgbClr val="3C3E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A0B6A31-3801-382C-595A-81D616D6F0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64D8672-5055-FE0F-0F41-09B11E1D86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5979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pos="4981">
          <p15:clr>
            <a:srgbClr val="FFC000"/>
          </p15:clr>
        </p15:guide>
        <p15:guide id="3" orient="horz" pos="3957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, Picture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10">
            <a:extLst>
              <a:ext uri="{FF2B5EF4-FFF2-40B4-BE49-F238E27FC236}">
                <a16:creationId xmlns:a16="http://schemas.microsoft.com/office/drawing/2014/main" id="{7FA45EF1-65E8-7C9F-0BDF-ED75C2AABE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50904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8000" y="1379538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9300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393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200" y="1227600"/>
            <a:ext cx="5634000" cy="846000"/>
          </a:xfrm>
        </p:spPr>
        <p:txBody>
          <a:bodyPr anchor="b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EC3744-8767-F352-6BF4-168B27406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63393" y="2419200"/>
            <a:ext cx="5634000" cy="972000"/>
          </a:xfrm>
        </p:spPr>
        <p:txBody>
          <a:bodyPr tIns="72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buNone/>
              <a:defRPr sz="1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5000" b="0" kern="1200" spc="-500" baseline="0">
                <a:solidFill>
                  <a:schemeClr val="bg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5" name="Online Image Placeholder 9">
            <a:extLst>
              <a:ext uri="{FF2B5EF4-FFF2-40B4-BE49-F238E27FC236}">
                <a16:creationId xmlns:a16="http://schemas.microsoft.com/office/drawing/2014/main" id="{478C4D49-CEE0-F698-6BA8-FA0FCE38B3F9}"/>
              </a:ext>
            </a:extLst>
          </p:cNvPr>
          <p:cNvSpPr>
            <a:spLocks noGrp="1" noChangeAspect="1"/>
          </p:cNvSpPr>
          <p:nvPr>
            <p:ph type="clipArt" sz="quarter" idx="21" hasCustomPrompt="1"/>
          </p:nvPr>
        </p:nvSpPr>
        <p:spPr>
          <a:xfrm>
            <a:off x="288000" y="2228400"/>
            <a:ext cx="3679200" cy="25400"/>
          </a:xfrm>
          <a:solidFill>
            <a:srgbClr val="003C70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7" name="Online Image Placeholder 9">
            <a:extLst>
              <a:ext uri="{FF2B5EF4-FFF2-40B4-BE49-F238E27FC236}">
                <a16:creationId xmlns:a16="http://schemas.microsoft.com/office/drawing/2014/main" id="{A376B192-2A46-822B-5534-30CCE0DDCD9F}"/>
              </a:ext>
            </a:extLst>
          </p:cNvPr>
          <p:cNvSpPr>
            <a:spLocks noGrp="1"/>
          </p:cNvSpPr>
          <p:nvPr>
            <p:ph type="clipArt" sz="quarter" idx="22" hasCustomPrompt="1"/>
          </p:nvPr>
        </p:nvSpPr>
        <p:spPr>
          <a:xfrm>
            <a:off x="10751366" y="2228400"/>
            <a:ext cx="1440634" cy="25200"/>
          </a:xfrm>
          <a:solidFill>
            <a:srgbClr val="003C70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C732ECB-9388-8CA1-EB01-6E87A925AB1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265200" y="6450420"/>
            <a:ext cx="66564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FEBCB2A-7E50-4B55-C1F3-33448BAC5B2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865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1">
          <p15:clr>
            <a:srgbClr val="FFC000"/>
          </p15:clr>
        </p15:guide>
        <p15:guide id="2" orient="horz" pos="1347">
          <p15:clr>
            <a:srgbClr val="FFC000"/>
          </p15:clr>
        </p15:guide>
        <p15:guide id="3" pos="1704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Background Grey 95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12729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Blue 25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75BCEC29-2BC5-3234-39D0-FC2D17F5E4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086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DCBA62C2-C7B7-87CF-008A-31AD89387C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752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pos="3831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orient="horz" pos="3957">
          <p15:clr>
            <a:srgbClr val="FFC000"/>
          </p15:clr>
        </p15:guide>
        <p15:guide id="6" pos="339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 with Background dark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4">
            <a:extLst>
              <a:ext uri="{FF2B5EF4-FFF2-40B4-BE49-F238E27FC236}">
                <a16:creationId xmlns:a16="http://schemas.microsoft.com/office/drawing/2014/main" id="{241EF4CA-882A-70EE-A9F3-E951C674AF7B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800" y="1378800"/>
            <a:ext cx="5090400" cy="49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090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EC5D30-3275-A3EC-047D-92F4B32B51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78000" y="6450420"/>
            <a:ext cx="4060800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D7ABE19-FD1E-9438-9FC1-29C90EEEE6B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505444E4-6B96-E182-C5E3-766A53CD51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089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24">
          <p15:clr>
            <a:srgbClr val="FFC000"/>
          </p15:clr>
        </p15:guide>
        <p15:guide id="2" pos="4106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orient="horz" pos="3957">
          <p15:clr>
            <a:srgbClr val="FFC000"/>
          </p15:clr>
        </p15:guide>
        <p15:guide id="5" pos="3393">
          <p15:clr>
            <a:srgbClr val="FFC000"/>
          </p15:clr>
        </p15:guide>
        <p15:guide id="6" pos="7500">
          <p15:clr>
            <a:srgbClr val="FFC000"/>
          </p15:clr>
        </p15:guide>
        <p15:guide id="7" pos="181">
          <p15:clr>
            <a:srgbClr val="FFC000"/>
          </p15:clr>
        </p15:guide>
        <p15:guide id="8" orient="horz" pos="4142">
          <p15:clr>
            <a:srgbClr val="FFC000"/>
          </p15:clr>
        </p15:guide>
        <p15:guide id="9" orient="horz" pos="169">
          <p15:clr>
            <a:srgbClr val="FFC00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A56E249-7AEA-83D1-24C6-550B472E2D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8" y="1378800"/>
            <a:ext cx="11615737" cy="4903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0F317-4110-93B3-B9DE-2463263AF9C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73C78F-543D-0FE5-AC6D-97A58D2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A1648-417E-59AD-2CA3-D844E7D053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18543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6672" y="1378800"/>
            <a:ext cx="56700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56700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E7C35-63EC-AD03-6A7A-F9BD0CA92A0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85B91D-4685-5F58-F0CF-68DFC8CADE2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B309E67-4CCB-C781-B73D-ABA1E30E8E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99076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pos="7500">
          <p15:clr>
            <a:srgbClr val="FFC000"/>
          </p15:clr>
        </p15:guide>
        <p15:guide id="4" pos="3912">
          <p15:clr>
            <a:srgbClr val="FFC000"/>
          </p15:clr>
        </p15:guide>
        <p15:guide id="5" pos="3767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39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F0F0774-A736-B58B-3457-888B317F237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00E0E6CC-1586-9C98-0538-5FE2A981A4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3684588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93B3071F-F438-DCFD-E005-F4E2F754048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16674" y="1378800"/>
            <a:ext cx="3686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9410BB89-0101-18E6-2EF2-6C91E8F158F7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260850" y="1378800"/>
            <a:ext cx="36864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F467332-8CFF-A83D-77AC-88AA3D45B7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350C5DF-5065-DC79-B6C0-C48D4B2C6C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99247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5158">
          <p15:clr>
            <a:srgbClr val="FFC000"/>
          </p15:clr>
        </p15:guide>
        <p15:guide id="4" pos="5015">
          <p15:clr>
            <a:srgbClr val="FFC000"/>
          </p15:clr>
        </p15:guide>
        <p15:guide id="5" pos="2677">
          <p15:clr>
            <a:srgbClr val="FFC000"/>
          </p15:clr>
        </p15:guide>
        <p15:guide id="6" pos="2503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F844B2-EE29-9DE5-52C5-C7D16A6D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178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CBFF8C55-066E-D111-C226-02197D95EA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87337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60CD936A-5C06-33D9-1B52-E475F551E9A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352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A3DA6D5A-A339-4B79-2219-AE17A229061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269938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04330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99">
          <p15:clr>
            <a:srgbClr val="FFC000"/>
          </p15:clr>
        </p15:guide>
        <p15:guide id="2" pos="5617">
          <p15:clr>
            <a:srgbClr val="FFC000"/>
          </p15:clr>
        </p15:guide>
        <p15:guide id="3" pos="3912">
          <p15:clr>
            <a:srgbClr val="FFC000"/>
          </p15:clr>
        </p15:guide>
        <p15:guide id="4" pos="3754">
          <p15:clr>
            <a:srgbClr val="FFC000"/>
          </p15:clr>
        </p15:guide>
        <p15:guide id="5" pos="2055">
          <p15:clr>
            <a:srgbClr val="FFC000"/>
          </p15:clr>
        </p15:guide>
        <p15:guide id="6" pos="1873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orient="horz" pos="3958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3: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CA56C73-8105-7A0C-158A-DF385A8EB7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216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7999" y="1378800"/>
            <a:ext cx="863692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0246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99">
          <p15:clr>
            <a:srgbClr val="FFC000"/>
          </p15:clr>
        </p15:guide>
        <p15:guide id="2" pos="5625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1: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CA56C73-8105-7A0C-158A-DF385A8EB7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8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66149" y="1378800"/>
            <a:ext cx="863692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2154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2055">
          <p15:clr>
            <a:srgbClr val="FFC000"/>
          </p15:clr>
        </p15:guide>
        <p15:guide id="4" pos="1873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, Picture large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>
            <a:extLst>
              <a:ext uri="{FF2B5EF4-FFF2-40B4-BE49-F238E27FC236}">
                <a16:creationId xmlns:a16="http://schemas.microsoft.com/office/drawing/2014/main" id="{DCEA1B8A-ACF1-3919-0C08-7E71980EBE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1376363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CF035E-3E24-71F2-ECCF-0FC3A9F69A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EFAE0E-A49B-4091-85D7-B91D0281AE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E0787F05-BFE0-BCD8-3023-E6D2DDA482BC}"/>
              </a:ext>
            </a:extLst>
          </p:cNvPr>
          <p:cNvSpPr>
            <a:spLocks noGrp="1" noChangeAspect="1"/>
          </p:cNvSpPr>
          <p:nvPr>
            <p:ph type="clipArt" sz="quarter" idx="20" hasCustomPrompt="1"/>
          </p:nvPr>
        </p:nvSpPr>
        <p:spPr>
          <a:xfrm>
            <a:off x="288000" y="10368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A7429042-57AB-06D1-342B-2011144DE143}"/>
              </a:ext>
            </a:extLst>
          </p:cNvPr>
          <p:cNvSpPr>
            <a:spLocks noGrp="1"/>
          </p:cNvSpPr>
          <p:nvPr>
            <p:ph type="clipArt" sz="quarter" idx="21" hasCustomPrompt="1"/>
          </p:nvPr>
        </p:nvSpPr>
        <p:spPr>
          <a:xfrm>
            <a:off x="10751366" y="10368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879761B-5C15-26D3-4E48-C9A8F18D168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70" y="1928174"/>
            <a:ext cx="2400300" cy="3060000"/>
          </a:xfrm>
        </p:spPr>
        <p:txBody>
          <a:bodyPr tIns="378000"/>
          <a:lstStyle>
            <a:lvl1pPr>
              <a:defRPr b="0"/>
            </a:lvl1pPr>
            <a:lvl2pPr>
              <a:spcAft>
                <a:spcPts val="1600"/>
              </a:spcAft>
              <a:defRPr/>
            </a:lvl2pPr>
            <a:lvl3pPr marL="0" indent="0">
              <a:buNone/>
              <a:defRPr/>
            </a:lvl3pPr>
            <a:lvl4pPr marL="270000" indent="-270000">
              <a:spcAft>
                <a:spcPts val="1600"/>
              </a:spcAft>
              <a:buFont typeface="Symbol" panose="05050102010706020507" pitchFamily="18" charset="2"/>
              <a:buChar char="-"/>
              <a:defRPr sz="1400" b="0"/>
            </a:lvl4pPr>
            <a:lvl5pPr marL="0" indent="0" algn="l">
              <a:spcAft>
                <a:spcPts val="600"/>
              </a:spcAft>
              <a:buNone/>
              <a:defRPr sz="1400" b="0"/>
            </a:lvl5pPr>
            <a:lvl6pPr marL="270000" indent="-270000" algn="l">
              <a:spcAft>
                <a:spcPts val="1600"/>
              </a:spcAft>
              <a:buFont typeface="Symbol" panose="05050102010706020507" pitchFamily="18" charset="2"/>
              <a:buChar char="-"/>
              <a:defRPr sz="1400" b="0"/>
            </a:lvl6pPr>
            <a:lvl7pPr marL="0" indent="0" algn="l">
              <a:lnSpc>
                <a:spcPct val="100000"/>
              </a:lnSpc>
              <a:spcAft>
                <a:spcPts val="600"/>
              </a:spcAft>
              <a:buNone/>
              <a:defRPr sz="1400" b="0"/>
            </a:lvl7pPr>
            <a:lvl8pPr marL="270000" indent="-270000" algn="l">
              <a:lnSpc>
                <a:spcPct val="100000"/>
              </a:lnSpc>
              <a:spcAft>
                <a:spcPts val="1600"/>
              </a:spcAft>
              <a:buFont typeface="Symbol" panose="05050102010706020507" pitchFamily="18" charset="2"/>
              <a:buChar char="-"/>
              <a:defRPr sz="1400"/>
            </a:lvl8pPr>
            <a:lvl9pPr>
              <a:lnSpc>
                <a:spcPct val="100000"/>
              </a:lnSpc>
              <a:spcAft>
                <a:spcPts val="6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64766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1696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2: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96E45D8-91E9-6F65-A257-0C6C537876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1732" y="1379538"/>
            <a:ext cx="5670418" cy="4903787"/>
          </a:xfrm>
          <a:custGeom>
            <a:avLst/>
            <a:gdLst>
              <a:gd name="connsiteX0" fmla="*/ 274367 w 5670418"/>
              <a:gd name="connsiteY0" fmla="*/ 0 h 4903787"/>
              <a:gd name="connsiteX1" fmla="*/ 5396975 w 5670418"/>
              <a:gd name="connsiteY1" fmla="*/ 0 h 4903787"/>
              <a:gd name="connsiteX2" fmla="*/ 5665768 w 5670418"/>
              <a:gd name="connsiteY2" fmla="*/ 219073 h 4903787"/>
              <a:gd name="connsiteX3" fmla="*/ 5670418 w 5670418"/>
              <a:gd name="connsiteY3" fmla="*/ 265202 h 4903787"/>
              <a:gd name="connsiteX4" fmla="*/ 5670418 w 5670418"/>
              <a:gd name="connsiteY4" fmla="*/ 4638586 h 4903787"/>
              <a:gd name="connsiteX5" fmla="*/ 5665768 w 5670418"/>
              <a:gd name="connsiteY5" fmla="*/ 4684715 h 4903787"/>
              <a:gd name="connsiteX6" fmla="*/ 5396975 w 5670418"/>
              <a:gd name="connsiteY6" fmla="*/ 4903787 h 4903787"/>
              <a:gd name="connsiteX7" fmla="*/ 274367 w 5670418"/>
              <a:gd name="connsiteY7" fmla="*/ 4903787 h 4903787"/>
              <a:gd name="connsiteX8" fmla="*/ 0 w 5670418"/>
              <a:gd name="connsiteY8" fmla="*/ 4629420 h 4903787"/>
              <a:gd name="connsiteX9" fmla="*/ 0 w 5670418"/>
              <a:gd name="connsiteY9" fmla="*/ 274367 h 4903787"/>
              <a:gd name="connsiteX10" fmla="*/ 274367 w 5670418"/>
              <a:gd name="connsiteY10" fmla="*/ 0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70418" h="4903787">
                <a:moveTo>
                  <a:pt x="274367" y="0"/>
                </a:moveTo>
                <a:lnTo>
                  <a:pt x="5396975" y="0"/>
                </a:lnTo>
                <a:cubicBezTo>
                  <a:pt x="5529563" y="0"/>
                  <a:pt x="5640184" y="94048"/>
                  <a:pt x="5665768" y="219073"/>
                </a:cubicBezTo>
                <a:lnTo>
                  <a:pt x="5670418" y="265202"/>
                </a:lnTo>
                <a:lnTo>
                  <a:pt x="5670418" y="4638586"/>
                </a:lnTo>
                <a:lnTo>
                  <a:pt x="5665768" y="4684715"/>
                </a:lnTo>
                <a:cubicBezTo>
                  <a:pt x="5640184" y="4809739"/>
                  <a:pt x="5529563" y="4903787"/>
                  <a:pt x="5396975" y="4903787"/>
                </a:cubicBezTo>
                <a:lnTo>
                  <a:pt x="274367" y="4903787"/>
                </a:lnTo>
                <a:cubicBezTo>
                  <a:pt x="122838" y="4903787"/>
                  <a:pt x="0" y="4780949"/>
                  <a:pt x="0" y="4629420"/>
                </a:cubicBezTo>
                <a:lnTo>
                  <a:pt x="0" y="274367"/>
                </a:lnTo>
                <a:cubicBezTo>
                  <a:pt x="0" y="122838"/>
                  <a:pt x="122838" y="0"/>
                  <a:pt x="27436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000" y="1378800"/>
            <a:ext cx="567147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6305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915">
          <p15:clr>
            <a:srgbClr val="FFC000"/>
          </p15:clr>
        </p15:guide>
        <p15:guide id="4" pos="376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2: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96E45D8-91E9-6F65-A257-0C6C537876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8000" y="1379538"/>
            <a:ext cx="5670418" cy="4903787"/>
          </a:xfrm>
          <a:custGeom>
            <a:avLst/>
            <a:gdLst>
              <a:gd name="connsiteX0" fmla="*/ 274367 w 5670418"/>
              <a:gd name="connsiteY0" fmla="*/ 0 h 4903787"/>
              <a:gd name="connsiteX1" fmla="*/ 5396975 w 5670418"/>
              <a:gd name="connsiteY1" fmla="*/ 0 h 4903787"/>
              <a:gd name="connsiteX2" fmla="*/ 5665768 w 5670418"/>
              <a:gd name="connsiteY2" fmla="*/ 219073 h 4903787"/>
              <a:gd name="connsiteX3" fmla="*/ 5670418 w 5670418"/>
              <a:gd name="connsiteY3" fmla="*/ 265202 h 4903787"/>
              <a:gd name="connsiteX4" fmla="*/ 5670418 w 5670418"/>
              <a:gd name="connsiteY4" fmla="*/ 4638586 h 4903787"/>
              <a:gd name="connsiteX5" fmla="*/ 5665768 w 5670418"/>
              <a:gd name="connsiteY5" fmla="*/ 4684715 h 4903787"/>
              <a:gd name="connsiteX6" fmla="*/ 5396975 w 5670418"/>
              <a:gd name="connsiteY6" fmla="*/ 4903787 h 4903787"/>
              <a:gd name="connsiteX7" fmla="*/ 274367 w 5670418"/>
              <a:gd name="connsiteY7" fmla="*/ 4903787 h 4903787"/>
              <a:gd name="connsiteX8" fmla="*/ 0 w 5670418"/>
              <a:gd name="connsiteY8" fmla="*/ 4629420 h 4903787"/>
              <a:gd name="connsiteX9" fmla="*/ 0 w 5670418"/>
              <a:gd name="connsiteY9" fmla="*/ 274367 h 4903787"/>
              <a:gd name="connsiteX10" fmla="*/ 274367 w 5670418"/>
              <a:gd name="connsiteY10" fmla="*/ 0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70418" h="4903787">
                <a:moveTo>
                  <a:pt x="274367" y="0"/>
                </a:moveTo>
                <a:lnTo>
                  <a:pt x="5396975" y="0"/>
                </a:lnTo>
                <a:cubicBezTo>
                  <a:pt x="5529563" y="0"/>
                  <a:pt x="5640184" y="94048"/>
                  <a:pt x="5665768" y="219073"/>
                </a:cubicBezTo>
                <a:lnTo>
                  <a:pt x="5670418" y="265202"/>
                </a:lnTo>
                <a:lnTo>
                  <a:pt x="5670418" y="4638586"/>
                </a:lnTo>
                <a:lnTo>
                  <a:pt x="5665768" y="4684715"/>
                </a:lnTo>
                <a:cubicBezTo>
                  <a:pt x="5640184" y="4809739"/>
                  <a:pt x="5529563" y="4903787"/>
                  <a:pt x="5396975" y="4903787"/>
                </a:cubicBezTo>
                <a:lnTo>
                  <a:pt x="274367" y="4903787"/>
                </a:lnTo>
                <a:cubicBezTo>
                  <a:pt x="122838" y="4903787"/>
                  <a:pt x="0" y="4780949"/>
                  <a:pt x="0" y="4629420"/>
                </a:cubicBezTo>
                <a:lnTo>
                  <a:pt x="0" y="274367"/>
                </a:lnTo>
                <a:cubicBezTo>
                  <a:pt x="0" y="122838"/>
                  <a:pt x="122838" y="0"/>
                  <a:pt x="27436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31600" y="1378800"/>
            <a:ext cx="5671475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24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3915">
          <p15:clr>
            <a:srgbClr val="FFC000"/>
          </p15:clr>
        </p15:guide>
        <p15:guide id="4" pos="376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ure (1: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0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9C72D0-9C75-B7FA-B88A-327B8440D37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65200" y="1379538"/>
            <a:ext cx="8637587" cy="4903049"/>
          </a:xfrm>
          <a:custGeom>
            <a:avLst/>
            <a:gdLst>
              <a:gd name="connsiteX0" fmla="*/ 267045 w 8637587"/>
              <a:gd name="connsiteY0" fmla="*/ 0 h 4903049"/>
              <a:gd name="connsiteX1" fmla="*/ 8370541 w 8637587"/>
              <a:gd name="connsiteY1" fmla="*/ 0 h 4903049"/>
              <a:gd name="connsiteX2" fmla="*/ 8418515 w 8637587"/>
              <a:gd name="connsiteY2" fmla="*/ 4836 h 4903049"/>
              <a:gd name="connsiteX3" fmla="*/ 8637587 w 8637587"/>
              <a:gd name="connsiteY3" fmla="*/ 273629 h 4903049"/>
              <a:gd name="connsiteX4" fmla="*/ 8637587 w 8637587"/>
              <a:gd name="connsiteY4" fmla="*/ 4628682 h 4903049"/>
              <a:gd name="connsiteX5" fmla="*/ 8363220 w 8637587"/>
              <a:gd name="connsiteY5" fmla="*/ 4903049 h 4903049"/>
              <a:gd name="connsiteX6" fmla="*/ 5396974 w 8637587"/>
              <a:gd name="connsiteY6" fmla="*/ 4903049 h 4903049"/>
              <a:gd name="connsiteX7" fmla="*/ 3240612 w 8637587"/>
              <a:gd name="connsiteY7" fmla="*/ 4903049 h 4903049"/>
              <a:gd name="connsiteX8" fmla="*/ 274366 w 8637587"/>
              <a:gd name="connsiteY8" fmla="*/ 4903049 h 4903049"/>
              <a:gd name="connsiteX9" fmla="*/ 21560 w 8637587"/>
              <a:gd name="connsiteY9" fmla="*/ 4735478 h 4903049"/>
              <a:gd name="connsiteX10" fmla="*/ 0 w 8637587"/>
              <a:gd name="connsiteY10" fmla="*/ 4628687 h 4903049"/>
              <a:gd name="connsiteX11" fmla="*/ 0 w 8637587"/>
              <a:gd name="connsiteY11" fmla="*/ 273625 h 4903049"/>
              <a:gd name="connsiteX12" fmla="*/ 21560 w 8637587"/>
              <a:gd name="connsiteY12" fmla="*/ 166833 h 4903049"/>
              <a:gd name="connsiteX13" fmla="*/ 219071 w 8637587"/>
              <a:gd name="connsiteY13" fmla="*/ 4836 h 490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37587" h="4903049">
                <a:moveTo>
                  <a:pt x="267045" y="0"/>
                </a:moveTo>
                <a:lnTo>
                  <a:pt x="8370541" y="0"/>
                </a:lnTo>
                <a:lnTo>
                  <a:pt x="8418515" y="4836"/>
                </a:lnTo>
                <a:cubicBezTo>
                  <a:pt x="8543539" y="30420"/>
                  <a:pt x="8637587" y="141041"/>
                  <a:pt x="8637587" y="273629"/>
                </a:cubicBezTo>
                <a:lnTo>
                  <a:pt x="8637587" y="4628682"/>
                </a:lnTo>
                <a:cubicBezTo>
                  <a:pt x="8637587" y="4780211"/>
                  <a:pt x="8514749" y="4903049"/>
                  <a:pt x="8363220" y="4903049"/>
                </a:cubicBezTo>
                <a:lnTo>
                  <a:pt x="5396974" y="4903049"/>
                </a:lnTo>
                <a:lnTo>
                  <a:pt x="3240612" y="4903049"/>
                </a:lnTo>
                <a:lnTo>
                  <a:pt x="274366" y="4903049"/>
                </a:lnTo>
                <a:cubicBezTo>
                  <a:pt x="160719" y="4903049"/>
                  <a:pt x="63211" y="4833953"/>
                  <a:pt x="21560" y="4735478"/>
                </a:cubicBezTo>
                <a:lnTo>
                  <a:pt x="0" y="4628687"/>
                </a:lnTo>
                <a:lnTo>
                  <a:pt x="0" y="273625"/>
                </a:lnTo>
                <a:lnTo>
                  <a:pt x="21560" y="166833"/>
                </a:lnTo>
                <a:cubicBezTo>
                  <a:pt x="56270" y="84771"/>
                  <a:pt x="129768" y="23110"/>
                  <a:pt x="219071" y="483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3889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2055">
          <p15:clr>
            <a:srgbClr val="FFC000"/>
          </p15:clr>
        </p15:guide>
        <p15:guide id="4" pos="1873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Text (3: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479C8E-54D1-DECA-A366-AC1F55D9AA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19600" y="1378800"/>
            <a:ext cx="2685600" cy="490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EE23C52-6DAD-95DC-ED98-591B9334BBE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7338" y="1379538"/>
            <a:ext cx="8637587" cy="4903049"/>
          </a:xfrm>
          <a:custGeom>
            <a:avLst/>
            <a:gdLst>
              <a:gd name="connsiteX0" fmla="*/ 267045 w 8637587"/>
              <a:gd name="connsiteY0" fmla="*/ 0 h 4903049"/>
              <a:gd name="connsiteX1" fmla="*/ 8370541 w 8637587"/>
              <a:gd name="connsiteY1" fmla="*/ 0 h 4903049"/>
              <a:gd name="connsiteX2" fmla="*/ 8418515 w 8637587"/>
              <a:gd name="connsiteY2" fmla="*/ 4836 h 4903049"/>
              <a:gd name="connsiteX3" fmla="*/ 8637587 w 8637587"/>
              <a:gd name="connsiteY3" fmla="*/ 273629 h 4903049"/>
              <a:gd name="connsiteX4" fmla="*/ 8637587 w 8637587"/>
              <a:gd name="connsiteY4" fmla="*/ 4628682 h 4903049"/>
              <a:gd name="connsiteX5" fmla="*/ 8363220 w 8637587"/>
              <a:gd name="connsiteY5" fmla="*/ 4903049 h 4903049"/>
              <a:gd name="connsiteX6" fmla="*/ 5396974 w 8637587"/>
              <a:gd name="connsiteY6" fmla="*/ 4903049 h 4903049"/>
              <a:gd name="connsiteX7" fmla="*/ 3240612 w 8637587"/>
              <a:gd name="connsiteY7" fmla="*/ 4903049 h 4903049"/>
              <a:gd name="connsiteX8" fmla="*/ 274366 w 8637587"/>
              <a:gd name="connsiteY8" fmla="*/ 4903049 h 4903049"/>
              <a:gd name="connsiteX9" fmla="*/ 21560 w 8637587"/>
              <a:gd name="connsiteY9" fmla="*/ 4735478 h 4903049"/>
              <a:gd name="connsiteX10" fmla="*/ 0 w 8637587"/>
              <a:gd name="connsiteY10" fmla="*/ 4628687 h 4903049"/>
              <a:gd name="connsiteX11" fmla="*/ 0 w 8637587"/>
              <a:gd name="connsiteY11" fmla="*/ 273625 h 4903049"/>
              <a:gd name="connsiteX12" fmla="*/ 21560 w 8637587"/>
              <a:gd name="connsiteY12" fmla="*/ 166833 h 4903049"/>
              <a:gd name="connsiteX13" fmla="*/ 219071 w 8637587"/>
              <a:gd name="connsiteY13" fmla="*/ 4836 h 490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37587" h="4903049">
                <a:moveTo>
                  <a:pt x="267045" y="0"/>
                </a:moveTo>
                <a:lnTo>
                  <a:pt x="8370541" y="0"/>
                </a:lnTo>
                <a:lnTo>
                  <a:pt x="8418515" y="4836"/>
                </a:lnTo>
                <a:cubicBezTo>
                  <a:pt x="8543539" y="30420"/>
                  <a:pt x="8637587" y="141041"/>
                  <a:pt x="8637587" y="273629"/>
                </a:cubicBezTo>
                <a:lnTo>
                  <a:pt x="8637587" y="4628682"/>
                </a:lnTo>
                <a:cubicBezTo>
                  <a:pt x="8637587" y="4780211"/>
                  <a:pt x="8514749" y="4903049"/>
                  <a:pt x="8363220" y="4903049"/>
                </a:cubicBezTo>
                <a:lnTo>
                  <a:pt x="5396974" y="4903049"/>
                </a:lnTo>
                <a:lnTo>
                  <a:pt x="3240612" y="4903049"/>
                </a:lnTo>
                <a:lnTo>
                  <a:pt x="274366" y="4903049"/>
                </a:lnTo>
                <a:cubicBezTo>
                  <a:pt x="160719" y="4903049"/>
                  <a:pt x="63211" y="4833953"/>
                  <a:pt x="21560" y="4735478"/>
                </a:cubicBezTo>
                <a:lnTo>
                  <a:pt x="0" y="4628687"/>
                </a:lnTo>
                <a:lnTo>
                  <a:pt x="0" y="273625"/>
                </a:lnTo>
                <a:lnTo>
                  <a:pt x="21560" y="166833"/>
                </a:lnTo>
                <a:cubicBezTo>
                  <a:pt x="56270" y="84771"/>
                  <a:pt x="129768" y="23110"/>
                  <a:pt x="219071" y="483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2851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08">
          <p15:clr>
            <a:srgbClr val="FFC000"/>
          </p15:clr>
        </p15:guide>
        <p15:guide id="2" pos="5627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full widt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26242A-030E-5D43-634F-5C7288B6C2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26D77A2-9A75-87CB-F02E-A43C0C3EE7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4F0F322-EA25-ACAE-609C-DC51DE7031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7" y="1378800"/>
            <a:ext cx="11615736" cy="4903787"/>
          </a:xfrm>
          <a:custGeom>
            <a:avLst/>
            <a:gdLst>
              <a:gd name="connsiteX0" fmla="*/ 3245194 w 11615736"/>
              <a:gd name="connsiteY0" fmla="*/ 0 h 4903787"/>
              <a:gd name="connsiteX1" fmla="*/ 11348690 w 11615736"/>
              <a:gd name="connsiteY1" fmla="*/ 0 h 4903787"/>
              <a:gd name="connsiteX2" fmla="*/ 11396664 w 11615736"/>
              <a:gd name="connsiteY2" fmla="*/ 4836 h 4903787"/>
              <a:gd name="connsiteX3" fmla="*/ 11615736 w 11615736"/>
              <a:gd name="connsiteY3" fmla="*/ 273629 h 4903787"/>
              <a:gd name="connsiteX4" fmla="*/ 11615736 w 11615736"/>
              <a:gd name="connsiteY4" fmla="*/ 4628682 h 4903787"/>
              <a:gd name="connsiteX5" fmla="*/ 11341369 w 11615736"/>
              <a:gd name="connsiteY5" fmla="*/ 4903049 h 4903787"/>
              <a:gd name="connsiteX6" fmla="*/ 8375123 w 11615736"/>
              <a:gd name="connsiteY6" fmla="*/ 4903049 h 4903787"/>
              <a:gd name="connsiteX7" fmla="*/ 8370541 w 11615736"/>
              <a:gd name="connsiteY7" fmla="*/ 4903049 h 4903787"/>
              <a:gd name="connsiteX8" fmla="*/ 8363220 w 11615736"/>
              <a:gd name="connsiteY8" fmla="*/ 4903787 h 4903787"/>
              <a:gd name="connsiteX9" fmla="*/ 5396974 w 11615736"/>
              <a:gd name="connsiteY9" fmla="*/ 4903787 h 4903787"/>
              <a:gd name="connsiteX10" fmla="*/ 3240612 w 11615736"/>
              <a:gd name="connsiteY10" fmla="*/ 4903787 h 4903787"/>
              <a:gd name="connsiteX11" fmla="*/ 274366 w 11615736"/>
              <a:gd name="connsiteY11" fmla="*/ 4903787 h 4903787"/>
              <a:gd name="connsiteX12" fmla="*/ 21560 w 11615736"/>
              <a:gd name="connsiteY12" fmla="*/ 4736216 h 4903787"/>
              <a:gd name="connsiteX13" fmla="*/ 0 w 11615736"/>
              <a:gd name="connsiteY13" fmla="*/ 4629425 h 4903787"/>
              <a:gd name="connsiteX14" fmla="*/ 0 w 11615736"/>
              <a:gd name="connsiteY14" fmla="*/ 274363 h 4903787"/>
              <a:gd name="connsiteX15" fmla="*/ 21560 w 11615736"/>
              <a:gd name="connsiteY15" fmla="*/ 167571 h 4903787"/>
              <a:gd name="connsiteX16" fmla="*/ 219071 w 11615736"/>
              <a:gd name="connsiteY16" fmla="*/ 5574 h 4903787"/>
              <a:gd name="connsiteX17" fmla="*/ 267045 w 11615736"/>
              <a:gd name="connsiteY17" fmla="*/ 738 h 4903787"/>
              <a:gd name="connsiteX18" fmla="*/ 3237874 w 11615736"/>
              <a:gd name="connsiteY18" fmla="*/ 738 h 49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615736" h="4903787">
                <a:moveTo>
                  <a:pt x="3245194" y="0"/>
                </a:moveTo>
                <a:lnTo>
                  <a:pt x="11348690" y="0"/>
                </a:lnTo>
                <a:lnTo>
                  <a:pt x="11396664" y="4836"/>
                </a:lnTo>
                <a:cubicBezTo>
                  <a:pt x="11521688" y="30420"/>
                  <a:pt x="11615736" y="141041"/>
                  <a:pt x="11615736" y="273629"/>
                </a:cubicBezTo>
                <a:lnTo>
                  <a:pt x="11615736" y="4628682"/>
                </a:lnTo>
                <a:cubicBezTo>
                  <a:pt x="11615736" y="4780211"/>
                  <a:pt x="11492898" y="4903049"/>
                  <a:pt x="11341369" y="4903049"/>
                </a:cubicBezTo>
                <a:lnTo>
                  <a:pt x="8375123" y="4903049"/>
                </a:lnTo>
                <a:lnTo>
                  <a:pt x="8370541" y="4903049"/>
                </a:lnTo>
                <a:lnTo>
                  <a:pt x="8363220" y="4903787"/>
                </a:lnTo>
                <a:lnTo>
                  <a:pt x="5396974" y="4903787"/>
                </a:lnTo>
                <a:lnTo>
                  <a:pt x="3240612" y="4903787"/>
                </a:lnTo>
                <a:lnTo>
                  <a:pt x="274366" y="4903787"/>
                </a:lnTo>
                <a:cubicBezTo>
                  <a:pt x="160719" y="4903787"/>
                  <a:pt x="63211" y="4834691"/>
                  <a:pt x="21560" y="4736216"/>
                </a:cubicBezTo>
                <a:lnTo>
                  <a:pt x="0" y="4629425"/>
                </a:lnTo>
                <a:lnTo>
                  <a:pt x="0" y="274363"/>
                </a:lnTo>
                <a:lnTo>
                  <a:pt x="21560" y="167571"/>
                </a:lnTo>
                <a:cubicBezTo>
                  <a:pt x="56270" y="85509"/>
                  <a:pt x="129768" y="23848"/>
                  <a:pt x="219071" y="5574"/>
                </a:cubicBezTo>
                <a:lnTo>
                  <a:pt x="267045" y="738"/>
                </a:lnTo>
                <a:lnTo>
                  <a:pt x="3237874" y="7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9873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9AFD43-5FF5-07CF-598F-C6154BEE6A9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218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9">
          <p15:clr>
            <a:srgbClr val="FFC000"/>
          </p15:clr>
        </p15:guide>
        <p15:guide id="2" pos="2503">
          <p15:clr>
            <a:srgbClr val="FFC000"/>
          </p15:clr>
        </p15:guide>
        <p15:guide id="3" pos="2071">
          <p15:clr>
            <a:srgbClr val="FFC000"/>
          </p15:clr>
        </p15:guide>
        <p15:guide id="4" pos="1891">
          <p15:clr>
            <a:srgbClr val="FFC000"/>
          </p15:clr>
        </p15:guide>
        <p15:guide id="5" pos="1436">
          <p15:clr>
            <a:srgbClr val="FFC000"/>
          </p15:clr>
        </p15:guide>
        <p15:guide id="6" pos="1255">
          <p15:clr>
            <a:srgbClr val="FFC000"/>
          </p15:clr>
        </p15:guide>
        <p15:guide id="7" pos="804">
          <p15:clr>
            <a:srgbClr val="FFC000"/>
          </p15:clr>
        </p15:guide>
        <p15:guide id="8" pos="620">
          <p15:clr>
            <a:srgbClr val="FFC000"/>
          </p15:clr>
        </p15:guide>
        <p15:guide id="9" pos="181">
          <p15:clr>
            <a:srgbClr val="FFC000"/>
          </p15:clr>
        </p15:guide>
        <p15:guide id="10" pos="2684">
          <p15:clr>
            <a:srgbClr val="FFC000"/>
          </p15:clr>
        </p15:guide>
        <p15:guide id="11" pos="3295">
          <p15:clr>
            <a:srgbClr val="FFC000"/>
          </p15:clr>
        </p15:guide>
        <p15:guide id="12" pos="3113">
          <p15:clr>
            <a:srgbClr val="FFC000"/>
          </p15:clr>
        </p15:guide>
        <p15:guide id="13" pos="3751">
          <p15:clr>
            <a:srgbClr val="FFC000"/>
          </p15:clr>
        </p15:guide>
        <p15:guide id="14" pos="7061">
          <p15:clr>
            <a:srgbClr val="FFC000"/>
          </p15:clr>
        </p15:guide>
        <p15:guide id="15" pos="6901">
          <p15:clr>
            <a:srgbClr val="FFC000"/>
          </p15:clr>
        </p15:guide>
        <p15:guide id="16" pos="6449">
          <p15:clr>
            <a:srgbClr val="FFC000"/>
          </p15:clr>
        </p15:guide>
        <p15:guide id="17" pos="6269">
          <p15:clr>
            <a:srgbClr val="FFC000"/>
          </p15:clr>
        </p15:guide>
        <p15:guide id="18" pos="5816">
          <p15:clr>
            <a:srgbClr val="FFC000"/>
          </p15:clr>
        </p15:guide>
        <p15:guide id="19" pos="5634">
          <p15:clr>
            <a:srgbClr val="FFC000"/>
          </p15:clr>
        </p15:guide>
        <p15:guide id="20" pos="5178">
          <p15:clr>
            <a:srgbClr val="FFC000"/>
          </p15:clr>
        </p15:guide>
        <p15:guide id="21" pos="4998">
          <p15:clr>
            <a:srgbClr val="FFC000"/>
          </p15:clr>
        </p15:guide>
        <p15:guide id="22" pos="4544">
          <p15:clr>
            <a:srgbClr val="FFC000"/>
          </p15:clr>
        </p15:guide>
        <p15:guide id="23" pos="4385">
          <p15:clr>
            <a:srgbClr val="FFC000"/>
          </p15:clr>
        </p15:guide>
        <p15:guide id="24" pos="3931">
          <p15:clr>
            <a:srgbClr val="FFC000"/>
          </p15:clr>
        </p15:guide>
        <p15:guide id="25" orient="horz" pos="4141">
          <p15:clr>
            <a:srgbClr val="FFC000"/>
          </p15:clr>
        </p15:guide>
        <p15:guide id="26" orient="horz" pos="3962">
          <p15:clr>
            <a:srgbClr val="FFC000"/>
          </p15:clr>
        </p15:guide>
        <p15:guide id="27" orient="horz" pos="166">
          <p15:clr>
            <a:srgbClr val="FFC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BC6E3AB-0636-57B2-4C36-AC798D6B06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0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5A7C009-966B-009A-E119-D98EDBB960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0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FCEF823-670B-2AD2-6E20-55B1F88A48E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688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B4FBDE2-69A3-83BC-90B8-D68A711F9E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352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070E2F6E-F2A4-9A59-115B-08EEEAF78B0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9600" y="1774800"/>
            <a:ext cx="2685600" cy="4507200"/>
          </a:xfrm>
        </p:spPr>
        <p:txBody>
          <a:bodyPr tIns="5688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93BBFB66-7482-7164-A64A-968F6356FA5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270275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31F66869-8715-1AC4-BB36-53CF23C5B2E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352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C197165B-607C-959F-F199-34120D43467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219600" y="1378800"/>
            <a:ext cx="2685600" cy="39356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t="94000" r="-1000"/>
            </a:stretch>
          </a:blipFill>
        </p:spPr>
        <p:txBody>
          <a:bodyPr tIns="0" bIns="176400">
            <a:spAutoFit/>
          </a:bodyPr>
          <a:lstStyle>
            <a:lvl1pPr>
              <a:spcAft>
                <a:spcPts val="0"/>
              </a:spcAft>
              <a:defRPr>
                <a:solidFill>
                  <a:schemeClr val="tx2"/>
                </a:solidFill>
              </a:defRPr>
            </a:lvl1pPr>
            <a:lvl2pPr marL="0" indent="0">
              <a:spcAft>
                <a:spcPts val="0"/>
              </a:spcAft>
              <a:buNone/>
              <a:defRPr sz="1800" b="1"/>
            </a:lvl2pPr>
            <a:lvl3pPr marL="0" indent="0">
              <a:spcAft>
                <a:spcPts val="0"/>
              </a:spcAft>
              <a:buNone/>
              <a:defRPr b="1"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spcAft>
                <a:spcPts val="0"/>
              </a:spcAft>
              <a:buNone/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80398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5806">
          <p15:clr>
            <a:srgbClr val="FFC000"/>
          </p15:clr>
        </p15:guide>
        <p15:guide id="4" pos="5617">
          <p15:clr>
            <a:srgbClr val="FFC000"/>
          </p15:clr>
        </p15:guide>
        <p15:guide id="5" pos="3912">
          <p15:clr>
            <a:srgbClr val="FFC000"/>
          </p15:clr>
        </p15:guide>
        <p15:guide id="6" pos="3754">
          <p15:clr>
            <a:srgbClr val="FFC000"/>
          </p15:clr>
        </p15:guide>
        <p15:guide id="7" pos="2055">
          <p15:clr>
            <a:srgbClr val="FFC000"/>
          </p15:clr>
        </p15:guide>
        <p15:guide id="8" pos="1873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s with Depos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C1E507DF-D53B-3BE4-1A00-07C74C890A5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/>
            </a:lvl1pPr>
            <a:lvl2pPr marL="0" indent="0" algn="ctr">
              <a:spcAft>
                <a:spcPts val="600"/>
              </a:spcAft>
              <a:buNone/>
              <a:defRPr sz="2000" b="1"/>
            </a:lvl2pPr>
            <a:lvl3pPr marL="0" indent="0" algn="ctr">
              <a:spcAft>
                <a:spcPts val="600"/>
              </a:spcAft>
              <a:buNone/>
              <a:defRPr sz="3000" b="0"/>
            </a:lvl3pPr>
            <a:lvl4pPr marL="0" indent="0" algn="ctr">
              <a:spcAft>
                <a:spcPts val="600"/>
              </a:spcAft>
              <a:buNone/>
              <a:defRPr sz="4800"/>
            </a:lvl4pPr>
            <a:lvl5pPr>
              <a:spcAft>
                <a:spcPts val="600"/>
              </a:spcAft>
              <a:defRPr sz="1400"/>
            </a:lvl5pPr>
            <a:lvl6pPr>
              <a:spcAft>
                <a:spcPts val="600"/>
              </a:spcAft>
              <a:defRPr sz="1400"/>
            </a:lvl6pPr>
            <a:lvl7pPr>
              <a:spcAft>
                <a:spcPts val="600"/>
              </a:spcAft>
              <a:defRPr sz="1400"/>
            </a:lvl7pPr>
            <a:lvl8pPr>
              <a:spcAft>
                <a:spcPts val="600"/>
              </a:spcAft>
              <a:defRPr sz="14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81DD2EF-6E62-0069-4582-4CFA7F89136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88000" y="3968525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DAA20D63-B477-B8C1-E93C-EFEB50581D3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231600" y="1378800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B8735F24-7570-5F03-F59D-0B5175E0FC1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688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D6DD00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rgbClr val="3C3E00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rgbClr val="3C3E00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rgbClr val="3C3E00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rgbClr val="3C3E00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rgbClr val="3C3E00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rgbClr val="3C3E00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rgbClr val="3C3E00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rgbClr val="3C3E00"/>
                </a:solidFill>
              </a:defRPr>
            </a:lvl8pPr>
            <a:lvl9pPr>
              <a:defRPr>
                <a:solidFill>
                  <a:srgbClr val="3C3E00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0E93F332-4FA1-F307-866F-643689147FF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216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F1F1F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/>
            </a:lvl1pPr>
            <a:lvl2pPr marL="0" indent="0" algn="ctr">
              <a:spcAft>
                <a:spcPts val="600"/>
              </a:spcAft>
              <a:buNone/>
              <a:defRPr sz="2000" b="1"/>
            </a:lvl2pPr>
            <a:lvl3pPr marL="0" indent="0" algn="ctr">
              <a:spcAft>
                <a:spcPts val="600"/>
              </a:spcAft>
              <a:buNone/>
              <a:defRPr sz="3000" b="0"/>
            </a:lvl3pPr>
            <a:lvl4pPr marL="0" indent="0" algn="ctr">
              <a:spcAft>
                <a:spcPts val="600"/>
              </a:spcAft>
              <a:buNone/>
              <a:defRPr sz="4800"/>
            </a:lvl4pPr>
            <a:lvl5pPr>
              <a:spcAft>
                <a:spcPts val="600"/>
              </a:spcAft>
              <a:defRPr sz="1400"/>
            </a:lvl5pPr>
            <a:lvl6pPr>
              <a:spcAft>
                <a:spcPts val="600"/>
              </a:spcAft>
              <a:defRPr sz="1400"/>
            </a:lvl6pPr>
            <a:lvl7pPr>
              <a:spcAft>
                <a:spcPts val="600"/>
              </a:spcAft>
              <a:defRPr sz="1400"/>
            </a:lvl7pPr>
            <a:lvl8pPr>
              <a:spcAft>
                <a:spcPts val="600"/>
              </a:spcAft>
              <a:defRPr sz="14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70C187E0-20D0-F7FF-79B9-F04FD6912A4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2688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3C3E00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1BC731CC-642E-FB66-5FD0-1285316114E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2160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83C8507-E210-DECE-2D86-30260E35228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231600" y="3968525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447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9">
          <p15:clr>
            <a:srgbClr val="FFC000"/>
          </p15:clr>
        </p15:guide>
        <p15:guide id="2" orient="horz" pos="2497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5799">
          <p15:clr>
            <a:srgbClr val="FFC000"/>
          </p15:clr>
        </p15:guide>
        <p15:guide id="6" pos="5617">
          <p15:clr>
            <a:srgbClr val="FFC000"/>
          </p15:clr>
        </p15:guide>
        <p15:guide id="7" pos="3912">
          <p15:clr>
            <a:srgbClr val="FFC000"/>
          </p15:clr>
        </p15:guide>
        <p15:guide id="8" pos="3754">
          <p15:clr>
            <a:srgbClr val="FFC000"/>
          </p15:clr>
        </p15:guide>
        <p15:guide id="9" pos="2055">
          <p15:clr>
            <a:srgbClr val="FFC000"/>
          </p15:clr>
        </p15:guide>
        <p15:guide id="10" pos="1873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different Contents with Depos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87EB98-B074-7A44-75A0-1471BA240A4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88001" y="1379538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C31BBC-6D78-8BA4-340A-09543E6DDE63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7873D-1D25-7C76-93EE-9D4EBED20FB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68F8C-2D04-5CD5-F4F5-BD43B13A406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9EE9B09-12C0-5733-2DA6-5E041426680E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268800" y="1378800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732F8AC-AEB3-A27F-8C44-736695E49607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231600" y="1378800"/>
            <a:ext cx="2684937" cy="3472902"/>
          </a:xfrm>
          <a:custGeom>
            <a:avLst/>
            <a:gdLst>
              <a:gd name="connsiteX0" fmla="*/ 281102 w 2684937"/>
              <a:gd name="connsiteY0" fmla="*/ 0 h 3472902"/>
              <a:gd name="connsiteX1" fmla="*/ 2404498 w 2684937"/>
              <a:gd name="connsiteY1" fmla="*/ 0 h 3472902"/>
              <a:gd name="connsiteX2" fmla="*/ 2679889 w 2684937"/>
              <a:gd name="connsiteY2" fmla="*/ 224450 h 3472902"/>
              <a:gd name="connsiteX3" fmla="*/ 2684937 w 2684937"/>
              <a:gd name="connsiteY3" fmla="*/ 274525 h 3472902"/>
              <a:gd name="connsiteX4" fmla="*/ 2684937 w 2684937"/>
              <a:gd name="connsiteY4" fmla="*/ 3198377 h 3472902"/>
              <a:gd name="connsiteX5" fmla="*/ 2679889 w 2684937"/>
              <a:gd name="connsiteY5" fmla="*/ 3248452 h 3472902"/>
              <a:gd name="connsiteX6" fmla="*/ 2404498 w 2684937"/>
              <a:gd name="connsiteY6" fmla="*/ 3472902 h 3472902"/>
              <a:gd name="connsiteX7" fmla="*/ 281102 w 2684937"/>
              <a:gd name="connsiteY7" fmla="*/ 3472902 h 3472902"/>
              <a:gd name="connsiteX8" fmla="*/ 0 w 2684937"/>
              <a:gd name="connsiteY8" fmla="*/ 3191800 h 3472902"/>
              <a:gd name="connsiteX9" fmla="*/ 0 w 2684937"/>
              <a:gd name="connsiteY9" fmla="*/ 281102 h 3472902"/>
              <a:gd name="connsiteX10" fmla="*/ 281102 w 2684937"/>
              <a:gd name="connsiteY10" fmla="*/ 0 h 347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4937" h="3472902">
                <a:moveTo>
                  <a:pt x="281102" y="0"/>
                </a:moveTo>
                <a:lnTo>
                  <a:pt x="2404498" y="0"/>
                </a:lnTo>
                <a:cubicBezTo>
                  <a:pt x="2540340" y="0"/>
                  <a:pt x="2653677" y="96357"/>
                  <a:pt x="2679889" y="224450"/>
                </a:cubicBezTo>
                <a:lnTo>
                  <a:pt x="2684937" y="274525"/>
                </a:lnTo>
                <a:lnTo>
                  <a:pt x="2684937" y="3198377"/>
                </a:lnTo>
                <a:lnTo>
                  <a:pt x="2679889" y="3248452"/>
                </a:lnTo>
                <a:cubicBezTo>
                  <a:pt x="2653677" y="3376545"/>
                  <a:pt x="2540340" y="3472902"/>
                  <a:pt x="2404498" y="3472902"/>
                </a:cubicBezTo>
                <a:lnTo>
                  <a:pt x="281102" y="3472902"/>
                </a:lnTo>
                <a:cubicBezTo>
                  <a:pt x="125854" y="3472902"/>
                  <a:pt x="0" y="3347048"/>
                  <a:pt x="0" y="3191800"/>
                </a:cubicBezTo>
                <a:lnTo>
                  <a:pt x="0" y="281102"/>
                </a:lnTo>
                <a:cubicBezTo>
                  <a:pt x="0" y="125854"/>
                  <a:pt x="125854" y="0"/>
                  <a:pt x="281102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A1AC30F5-0F2F-BFF5-D1BA-25A2F146EDF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216000" y="13788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3C3E00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03FA84C-056A-53BE-456B-CCD449F5A7D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216000" y="3967200"/>
            <a:ext cx="2685600" cy="2314800"/>
          </a:xfrm>
          <a:custGeom>
            <a:avLst/>
            <a:gdLst>
              <a:gd name="connsiteX0" fmla="*/ 293262 w 2685600"/>
              <a:gd name="connsiteY0" fmla="*/ 0 h 2314800"/>
              <a:gd name="connsiteX1" fmla="*/ 2392338 w 2685600"/>
              <a:gd name="connsiteY1" fmla="*/ 0 h 2314800"/>
              <a:gd name="connsiteX2" fmla="*/ 2685600 w 2685600"/>
              <a:gd name="connsiteY2" fmla="*/ 293262 h 2314800"/>
              <a:gd name="connsiteX3" fmla="*/ 2685600 w 2685600"/>
              <a:gd name="connsiteY3" fmla="*/ 2021538 h 2314800"/>
              <a:gd name="connsiteX4" fmla="*/ 2392338 w 2685600"/>
              <a:gd name="connsiteY4" fmla="*/ 2314800 h 2314800"/>
              <a:gd name="connsiteX5" fmla="*/ 293262 w 2685600"/>
              <a:gd name="connsiteY5" fmla="*/ 2314800 h 2314800"/>
              <a:gd name="connsiteX6" fmla="*/ 0 w 2685600"/>
              <a:gd name="connsiteY6" fmla="*/ 2021538 h 2314800"/>
              <a:gd name="connsiteX7" fmla="*/ 0 w 2685600"/>
              <a:gd name="connsiteY7" fmla="*/ 293262 h 2314800"/>
              <a:gd name="connsiteX8" fmla="*/ 293262 w 2685600"/>
              <a:gd name="connsiteY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2314800">
                <a:moveTo>
                  <a:pt x="293262" y="0"/>
                </a:moveTo>
                <a:lnTo>
                  <a:pt x="2392338" y="0"/>
                </a:lnTo>
                <a:cubicBezTo>
                  <a:pt x="2554302" y="0"/>
                  <a:pt x="2685600" y="131298"/>
                  <a:pt x="2685600" y="293262"/>
                </a:cubicBezTo>
                <a:lnTo>
                  <a:pt x="2685600" y="2021538"/>
                </a:lnTo>
                <a:cubicBezTo>
                  <a:pt x="2685600" y="2183502"/>
                  <a:pt x="2554302" y="2314800"/>
                  <a:pt x="2392338" y="2314800"/>
                </a:cubicBezTo>
                <a:lnTo>
                  <a:pt x="293262" y="2314800"/>
                </a:lnTo>
                <a:cubicBezTo>
                  <a:pt x="131298" y="2314800"/>
                  <a:pt x="0" y="2183502"/>
                  <a:pt x="0" y="2021538"/>
                </a:cubicBezTo>
                <a:lnTo>
                  <a:pt x="0" y="293262"/>
                </a:lnTo>
                <a:cubicBezTo>
                  <a:pt x="0" y="131298"/>
                  <a:pt x="131298" y="0"/>
                  <a:pt x="293262" y="0"/>
                </a:cubicBezTo>
                <a:close/>
              </a:path>
            </a:pathLst>
          </a:custGeom>
          <a:solidFill>
            <a:srgbClr val="3C3E00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0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84754BB6-3C5A-A7FC-96F2-0712A88702E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880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E974E1D0-D962-84A4-9F54-83801EF3D47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2688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tx2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tx2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tx2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tx2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tx2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tx2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6BCC89B-09E3-E8EB-D377-C04935A26673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31600" y="5122800"/>
            <a:ext cx="2685600" cy="1162045"/>
          </a:xfrm>
          <a:custGeom>
            <a:avLst/>
            <a:gdLst>
              <a:gd name="connsiteX0" fmla="*/ 276114 w 2685600"/>
              <a:gd name="connsiteY0" fmla="*/ 0 h 1162045"/>
              <a:gd name="connsiteX1" fmla="*/ 2409486 w 2685600"/>
              <a:gd name="connsiteY1" fmla="*/ 0 h 1162045"/>
              <a:gd name="connsiteX2" fmla="*/ 2685600 w 2685600"/>
              <a:gd name="connsiteY2" fmla="*/ 276114 h 1162045"/>
              <a:gd name="connsiteX3" fmla="*/ 2685600 w 2685600"/>
              <a:gd name="connsiteY3" fmla="*/ 868783 h 1162045"/>
              <a:gd name="connsiteX4" fmla="*/ 2392338 w 2685600"/>
              <a:gd name="connsiteY4" fmla="*/ 1162045 h 1162045"/>
              <a:gd name="connsiteX5" fmla="*/ 293262 w 2685600"/>
              <a:gd name="connsiteY5" fmla="*/ 1162045 h 1162045"/>
              <a:gd name="connsiteX6" fmla="*/ 0 w 2685600"/>
              <a:gd name="connsiteY6" fmla="*/ 868783 h 1162045"/>
              <a:gd name="connsiteX7" fmla="*/ 0 w 2685600"/>
              <a:gd name="connsiteY7" fmla="*/ 276114 h 1162045"/>
              <a:gd name="connsiteX8" fmla="*/ 276114 w 2685600"/>
              <a:gd name="connsiteY8" fmla="*/ 0 h 1162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5600" h="1162045">
                <a:moveTo>
                  <a:pt x="276114" y="0"/>
                </a:moveTo>
                <a:lnTo>
                  <a:pt x="2409486" y="0"/>
                </a:lnTo>
                <a:cubicBezTo>
                  <a:pt x="2561980" y="0"/>
                  <a:pt x="2685600" y="123620"/>
                  <a:pt x="2685600" y="276114"/>
                </a:cubicBezTo>
                <a:lnTo>
                  <a:pt x="2685600" y="868783"/>
                </a:lnTo>
                <a:cubicBezTo>
                  <a:pt x="2685600" y="1030747"/>
                  <a:pt x="2554302" y="1162045"/>
                  <a:pt x="2392338" y="1162045"/>
                </a:cubicBezTo>
                <a:lnTo>
                  <a:pt x="293262" y="1162045"/>
                </a:lnTo>
                <a:cubicBezTo>
                  <a:pt x="131298" y="1162045"/>
                  <a:pt x="0" y="1030747"/>
                  <a:pt x="0" y="868783"/>
                </a:cubicBezTo>
                <a:lnTo>
                  <a:pt x="0" y="276114"/>
                </a:lnTo>
                <a:cubicBezTo>
                  <a:pt x="0" y="123620"/>
                  <a:pt x="123620" y="0"/>
                  <a:pt x="27611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marL="0" indent="0" algn="ctr">
              <a:spcAft>
                <a:spcPts val="600"/>
              </a:spcAft>
              <a:buNone/>
              <a:defRPr sz="2000" b="1">
                <a:solidFill>
                  <a:schemeClr val="bg1"/>
                </a:solidFill>
              </a:defRPr>
            </a:lvl2pPr>
            <a:lvl3pPr marL="0" indent="0" algn="ctr">
              <a:spcAft>
                <a:spcPts val="600"/>
              </a:spcAft>
              <a:buNone/>
              <a:defRPr sz="3000" b="0">
                <a:solidFill>
                  <a:schemeClr val="bg1"/>
                </a:solidFill>
              </a:defRPr>
            </a:lvl3pPr>
            <a:lvl4pPr marL="0" indent="0" algn="ctr">
              <a:spcAft>
                <a:spcPts val="600"/>
              </a:spcAft>
              <a:buNone/>
              <a:defRPr sz="48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400">
                <a:solidFill>
                  <a:schemeClr val="bg1"/>
                </a:solidFill>
              </a:defRPr>
            </a:lvl5pPr>
            <a:lvl6pPr>
              <a:spcAft>
                <a:spcPts val="600"/>
              </a:spcAft>
              <a:defRPr sz="1400">
                <a:solidFill>
                  <a:schemeClr val="bg1"/>
                </a:solidFill>
              </a:defRPr>
            </a:lvl6pPr>
            <a:lvl7pPr>
              <a:spcAft>
                <a:spcPts val="600"/>
              </a:spcAft>
              <a:defRPr sz="1400">
                <a:solidFill>
                  <a:schemeClr val="bg1"/>
                </a:solidFill>
              </a:defRPr>
            </a:lvl7pPr>
            <a:lvl8pPr>
              <a:spcAft>
                <a:spcPts val="600"/>
              </a:spcAft>
              <a:defRPr sz="14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05034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9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orient="horz" pos="2497">
          <p15:clr>
            <a:srgbClr val="FFC000"/>
          </p15:clr>
        </p15:guide>
        <p15:guide id="5" pos="5799">
          <p15:clr>
            <a:srgbClr val="FFC000"/>
          </p15:clr>
        </p15:guide>
        <p15:guide id="6" pos="5617">
          <p15:clr>
            <a:srgbClr val="FFC000"/>
          </p15:clr>
        </p15:guide>
        <p15:guide id="7" pos="3912">
          <p15:clr>
            <a:srgbClr val="FFC000"/>
          </p15:clr>
        </p15:guide>
        <p15:guide id="8" pos="3754">
          <p15:clr>
            <a:srgbClr val="FFC000"/>
          </p15:clr>
        </p15:guide>
        <p15:guide id="9" pos="2055">
          <p15:clr>
            <a:srgbClr val="FFC000"/>
          </p15:clr>
        </p15:guide>
        <p15:guide id="10" pos="1873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rge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83528461-6E55-5C10-2CBB-BE461203F371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287335" y="212400"/>
            <a:ext cx="8567739" cy="6073775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B581DD6D-83FF-0267-E76E-43ED8CE245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611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4">
          <p15:clr>
            <a:srgbClr val="FFC000"/>
          </p15:clr>
        </p15:guide>
        <p15:guide id="2" pos="5176">
          <p15:clr>
            <a:srgbClr val="FFC000"/>
          </p15:clr>
        </p15:guide>
        <p15:guide id="3" pos="5585">
          <p15:clr>
            <a:srgbClr val="FFC000"/>
          </p15:clr>
        </p15:guide>
        <p15:guide id="4" orient="horz" pos="3958">
          <p15:clr>
            <a:srgbClr val="FFC000"/>
          </p15:clr>
        </p15:guide>
        <p15:guide id="5" orient="horz" pos="865">
          <p15:clr>
            <a:srgbClr val="FFC000"/>
          </p15:clr>
        </p15:guide>
        <p15:guide id="6" pos="5762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ighlight light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/>
        </p:nvSpPr>
        <p:spPr>
          <a:xfrm>
            <a:off x="288000" y="1036800"/>
            <a:ext cx="7617600" cy="2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BED2D7BF-9930-126A-5935-B520619010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18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rge dark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83528461-6E55-5C10-2CBB-BE461203F371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287338" y="212400"/>
            <a:ext cx="8568000" cy="6073775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CAC3FDC3-BFBF-F503-C15E-859DD8CB74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2D8EE8-72D6-D8D8-117F-673193C347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6342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4">
          <p15:clr>
            <a:srgbClr val="FFC000"/>
          </p15:clr>
        </p15:guide>
        <p15:guide id="2" pos="5176">
          <p15:clr>
            <a:srgbClr val="FFC000"/>
          </p15:clr>
        </p15:guide>
        <p15:guide id="3" orient="horz" pos="3958">
          <p15:clr>
            <a:srgbClr val="FFC000"/>
          </p15:clr>
        </p15:guide>
        <p15:guide id="4" orient="horz" pos="865">
          <p15:clr>
            <a:srgbClr val="FFC000"/>
          </p15:clr>
        </p15:guide>
        <p15:guide id="5" pos="5585">
          <p15:clr>
            <a:srgbClr val="FFC000"/>
          </p15:clr>
        </p15:guide>
        <p15:guide id="6" pos="5762">
          <p15:clr>
            <a:srgbClr val="FFC000"/>
          </p15:clr>
        </p15:guide>
        <p15:guide id="7" pos="7500">
          <p15:clr>
            <a:srgbClr val="FFC000"/>
          </p15:clr>
        </p15:guide>
        <p15:guide id="8" pos="181">
          <p15:clr>
            <a:srgbClr val="FFC000"/>
          </p15:clr>
        </p15:guide>
        <p15:guide id="9" orient="horz" pos="4142">
          <p15:clr>
            <a:srgbClr val="FFC000"/>
          </p15:clr>
        </p15:guide>
        <p15:guide id="10" orient="horz" pos="169">
          <p15:clr>
            <a:srgbClr val="FFC00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mall light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9" name="Table Placeholder 14">
            <a:extLst>
              <a:ext uri="{FF2B5EF4-FFF2-40B4-BE49-F238E27FC236}">
                <a16:creationId xmlns:a16="http://schemas.microsoft.com/office/drawing/2014/main" id="{7BE4ABD4-8A17-D127-FE2B-06483E4EF321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287338" y="212400"/>
            <a:ext cx="5356225" cy="6073775"/>
          </a:xfrm>
        </p:spPr>
        <p:txBody>
          <a:bodyPr/>
          <a:lstStyle>
            <a:lvl1pPr>
              <a:defRPr sz="2000" b="0"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16741C30-F2D2-5A43-164C-4D6DA6BFA2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053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pos="3556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sub-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0F317-4110-93B3-B9DE-2463263AF9CA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73C78F-543D-0FE5-AC6D-97A58D2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A1648-417E-59AD-2CA3-D844E7D053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2" name="Table Placeholder 11">
            <a:extLst>
              <a:ext uri="{FF2B5EF4-FFF2-40B4-BE49-F238E27FC236}">
                <a16:creationId xmlns:a16="http://schemas.microsoft.com/office/drawing/2014/main" id="{19E379EB-7AC3-7232-E7ED-82AAD359758C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287338" y="1378800"/>
            <a:ext cx="11617200" cy="49032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4327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8">
          <p15:clr>
            <a:srgbClr val="FFC000"/>
          </p15:clr>
        </p15:guide>
        <p15:guide id="2" orient="horz" pos="865">
          <p15:clr>
            <a:srgbClr val="FFC000"/>
          </p15:clr>
        </p15:guide>
        <p15:guide id="3" pos="7500">
          <p15:clr>
            <a:srgbClr val="FFC000"/>
          </p15:clr>
        </p15:guide>
        <p15:guide id="4" pos="181">
          <p15:clr>
            <a:srgbClr val="FFC000"/>
          </p15:clr>
        </p15:guide>
        <p15:guide id="5" orient="horz" pos="4142">
          <p15:clr>
            <a:srgbClr val="FFC000"/>
          </p15:clr>
        </p15:guide>
        <p15:guide id="6" orient="horz" pos="169">
          <p15:clr>
            <a:srgbClr val="FFC00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mall light, Logo neg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49018480-D069-72D4-6596-EE4F496671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7434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95">
          <p15:clr>
            <a:srgbClr val="FFC000"/>
          </p15:clr>
        </p15:guide>
        <p15:guide id="2" pos="871">
          <p15:clr>
            <a:srgbClr val="FFC000"/>
          </p15:clr>
        </p15:guide>
        <p15:guide id="3" orient="horz" pos="2904">
          <p15:clr>
            <a:srgbClr val="FFC000"/>
          </p15:clr>
        </p15:guide>
        <p15:guide id="4" orient="horz" pos="1898">
          <p15:clr>
            <a:srgbClr val="FFC000"/>
          </p15:clr>
        </p15:guide>
        <p15:guide id="5" orient="horz" pos="906">
          <p15:clr>
            <a:srgbClr val="FFC000"/>
          </p15:clr>
        </p15:guide>
        <p15:guide id="6" orient="horz" pos="3958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pos="7500">
          <p15:clr>
            <a:srgbClr val="FFC000"/>
          </p15:clr>
        </p15:guide>
        <p15:guide id="9" pos="181">
          <p15:clr>
            <a:srgbClr val="FFC000"/>
          </p15:clr>
        </p15:guide>
        <p15:guide id="10" orient="horz" pos="4142">
          <p15:clr>
            <a:srgbClr val="FFC000"/>
          </p15:clr>
        </p15:guide>
        <p15:guide id="11" orient="horz" pos="169">
          <p15:clr>
            <a:srgbClr val="FFC00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mall light, Logo po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3990523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7311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4">
          <p15:clr>
            <a:srgbClr val="FFC000"/>
          </p15:clr>
        </p15:guide>
        <p15:guide id="2" orient="horz" pos="1898">
          <p15:clr>
            <a:srgbClr val="FFC000"/>
          </p15:clr>
        </p15:guide>
        <p15:guide id="3" orient="horz" pos="906">
          <p15:clr>
            <a:srgbClr val="FFC000"/>
          </p15:clr>
        </p15:guide>
        <p15:guide id="4" orient="horz" pos="3958">
          <p15:clr>
            <a:srgbClr val="FFC000"/>
          </p15:clr>
        </p15:guide>
        <p15:guide id="5" orient="horz" pos="865">
          <p15:clr>
            <a:srgbClr val="FFC000"/>
          </p15:clr>
        </p15:guide>
        <p15:guide id="6" pos="873">
          <p15:clr>
            <a:srgbClr val="FFC000"/>
          </p15:clr>
        </p15:guide>
        <p15:guide id="7" pos="3393">
          <p15:clr>
            <a:srgbClr val="FFC000"/>
          </p15:clr>
        </p15:guide>
        <p15:guide id="8" pos="7500">
          <p15:clr>
            <a:srgbClr val="FFC000"/>
          </p15:clr>
        </p15:guide>
        <p15:guide id="9" pos="181">
          <p15:clr>
            <a:srgbClr val="FFC000"/>
          </p15:clr>
        </p15:guide>
        <p15:guide id="10" orient="horz" pos="4142">
          <p15:clr>
            <a:srgbClr val="FFC000"/>
          </p15:clr>
        </p15:guide>
        <p15:guide id="11" orient="horz" pos="169">
          <p15:clr>
            <a:srgbClr val="FFC00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C9466D7-7026-11D5-2238-B3F59D15C2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6" y="272485"/>
            <a:ext cx="7669213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8F17C3B9-E8D0-267E-7146-1E9673361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76759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7E9B2076-03CD-8440-CDC8-1DA0E2603DEC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476618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CED04CBA-DE01-EE53-BB6F-07F996F8A4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78483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58DA222D-C25A-D45A-7FCE-85430FF2839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76883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4CE00001-8D51-75EC-4465-EED81474FE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8483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403703E-D04C-61D4-A8F8-131F1E60712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476883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8671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7">
          <p15:clr>
            <a:srgbClr val="FFC000"/>
          </p15:clr>
        </p15:guide>
        <p15:guide id="2" pos="2373">
          <p15:clr>
            <a:srgbClr val="FFC000"/>
          </p15:clr>
        </p15:guide>
        <p15:guide id="3" pos="5009">
          <p15:clr>
            <a:srgbClr val="FFC000"/>
          </p15:clr>
        </p15:guide>
        <p15:guide id="4" pos="2819">
          <p15:clr>
            <a:srgbClr val="FFC000"/>
          </p15:clr>
        </p15:guide>
        <p15:guide id="5" orient="horz" pos="2904">
          <p15:clr>
            <a:srgbClr val="FFC000"/>
          </p15:clr>
        </p15:guide>
        <p15:guide id="6" orient="horz" pos="1898">
          <p15:clr>
            <a:srgbClr val="FFC000"/>
          </p15:clr>
        </p15:guide>
        <p15:guide id="7" pos="871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orient="horz" pos="906">
          <p15:clr>
            <a:srgbClr val="FFC000"/>
          </p15:clr>
        </p15:guide>
        <p15:guide id="10" orient="horz" pos="3958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C9466D7-7026-11D5-2238-B3F59D15C2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5196" y="0"/>
            <a:ext cx="3326803" cy="6858000"/>
          </a:xfrm>
          <a:custGeom>
            <a:avLst/>
            <a:gdLst>
              <a:gd name="connsiteX0" fmla="*/ 0 w 3326803"/>
              <a:gd name="connsiteY0" fmla="*/ 0 h 6858000"/>
              <a:gd name="connsiteX1" fmla="*/ 3326803 w 3326803"/>
              <a:gd name="connsiteY1" fmla="*/ 0 h 6858000"/>
              <a:gd name="connsiteX2" fmla="*/ 3326803 w 3326803"/>
              <a:gd name="connsiteY2" fmla="*/ 6858000 h 6858000"/>
              <a:gd name="connsiteX3" fmla="*/ 0 w 3326803"/>
              <a:gd name="connsiteY3" fmla="*/ 6858000 h 6858000"/>
              <a:gd name="connsiteX4" fmla="*/ 279400 w 3326803"/>
              <a:gd name="connsiteY4" fmla="*/ 6578600 h 6858000"/>
              <a:gd name="connsiteX5" fmla="*/ 279400 w 3326803"/>
              <a:gd name="connsiteY5" fmla="*/ 279400 h 6858000"/>
              <a:gd name="connsiteX6" fmla="*/ 0 w 3326803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6803" h="6858000">
                <a:moveTo>
                  <a:pt x="0" y="0"/>
                </a:moveTo>
                <a:lnTo>
                  <a:pt x="3326803" y="0"/>
                </a:lnTo>
                <a:lnTo>
                  <a:pt x="3326803" y="6858000"/>
                </a:lnTo>
                <a:lnTo>
                  <a:pt x="0" y="6858000"/>
                </a:lnTo>
                <a:cubicBezTo>
                  <a:pt x="154306" y="6858000"/>
                  <a:pt x="279400" y="6732906"/>
                  <a:pt x="279400" y="6578600"/>
                </a:cubicBezTo>
                <a:lnTo>
                  <a:pt x="279400" y="279400"/>
                </a:lnTo>
                <a:cubicBezTo>
                  <a:pt x="279400" y="125095"/>
                  <a:pt x="154306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Graphic 4">
            <a:extLst>
              <a:ext uri="{FF2B5EF4-FFF2-40B4-BE49-F238E27FC236}">
                <a16:creationId xmlns:a16="http://schemas.microsoft.com/office/drawing/2014/main" id="{18856E0D-BA88-5530-3929-C472EBBF987C}"/>
              </a:ext>
            </a:extLst>
          </p:cNvPr>
          <p:cNvSpPr/>
          <p:nvPr userDrawn="1"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7877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9600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9600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680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8F17C3B9-E8D0-267E-7146-1E9673361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76760" y="144971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7E9B2076-03CD-8440-CDC8-1DA0E2603DEC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476618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CED04CBA-DE01-EE53-BB6F-07F996F8A4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78483" y="303448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58DA222D-C25A-D45A-7FCE-85430FF2839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76883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4CE00001-8D51-75EC-4465-EED81474FE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8483" y="4619250"/>
            <a:ext cx="23760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E403703E-D04C-61D4-A8F8-131F1E60712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476883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17" name="Gerade Verbindung 61">
            <a:extLst>
              <a:ext uri="{FF2B5EF4-FFF2-40B4-BE49-F238E27FC236}">
                <a16:creationId xmlns:a16="http://schemas.microsoft.com/office/drawing/2014/main" id="{80C5D521-F036-9A83-0F87-2C8872A57862}"/>
              </a:ext>
            </a:extLst>
          </p:cNvPr>
          <p:cNvCxnSpPr>
            <a:cxnSpLocks/>
          </p:cNvCxnSpPr>
          <p:nvPr userDrawn="1"/>
        </p:nvCxnSpPr>
        <p:spPr>
          <a:xfrm>
            <a:off x="0" y="1036800"/>
            <a:ext cx="803583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8575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7">
          <p15:clr>
            <a:srgbClr val="FFC000"/>
          </p15:clr>
        </p15:guide>
        <p15:guide id="2" pos="2373">
          <p15:clr>
            <a:srgbClr val="FFC000"/>
          </p15:clr>
        </p15:guide>
        <p15:guide id="3" pos="5009">
          <p15:clr>
            <a:srgbClr val="FFC000"/>
          </p15:clr>
        </p15:guide>
        <p15:guide id="4" pos="2819">
          <p15:clr>
            <a:srgbClr val="FFC000"/>
          </p15:clr>
        </p15:guide>
        <p15:guide id="5" pos="871">
          <p15:clr>
            <a:srgbClr val="FFC000"/>
          </p15:clr>
        </p15:guide>
        <p15:guide id="6" orient="horz" pos="2904">
          <p15:clr>
            <a:srgbClr val="FFC000"/>
          </p15:clr>
        </p15:guide>
        <p15:guide id="7" orient="horz" pos="1898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orient="horz" pos="906">
          <p15:clr>
            <a:srgbClr val="FFC000"/>
          </p15:clr>
        </p15:guide>
        <p15:guide id="10" orient="horz" pos="3958">
          <p15:clr>
            <a:srgbClr val="FFC000"/>
          </p15:clr>
        </p15:guide>
        <p15:guide id="11" pos="7500">
          <p15:clr>
            <a:srgbClr val="FFC000"/>
          </p15:clr>
        </p15:guide>
        <p15:guide id="12" pos="181">
          <p15:clr>
            <a:srgbClr val="FFC000"/>
          </p15:clr>
        </p15:guide>
        <p15:guide id="13" orient="horz" pos="4142">
          <p15:clr>
            <a:srgbClr val="FFC000"/>
          </p15:clr>
        </p15:guide>
        <p15:guide id="14" orient="horz" pos="169">
          <p15:clr>
            <a:srgbClr val="FFC00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mall light QR, Logo neg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48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925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6FAD160A-5087-060D-4C02-28422E86AB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4812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0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pos="3395">
          <p15:clr>
            <a:srgbClr val="FFC000"/>
          </p15:clr>
        </p15:guide>
        <p15:guide id="4" pos="933">
          <p15:clr>
            <a:srgbClr val="FFC000"/>
          </p15:clr>
        </p15:guide>
        <p15:guide id="5" orient="horz" pos="2904">
          <p15:clr>
            <a:srgbClr val="FFC000"/>
          </p15:clr>
        </p15:guide>
        <p15:guide id="6" orient="horz" pos="1898">
          <p15:clr>
            <a:srgbClr val="FFC000"/>
          </p15:clr>
        </p15:guide>
        <p15:guide id="7" orient="horz" pos="906">
          <p15:clr>
            <a:srgbClr val="FFC000"/>
          </p15:clr>
        </p15:guide>
        <p15:guide id="8" orient="horz" pos="865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mall light QR, Logo po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48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925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50904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478EA6C-761C-C835-0D7D-B787D59259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09735" y="0"/>
            <a:ext cx="6282267" cy="6858000"/>
          </a:xfrm>
          <a:custGeom>
            <a:avLst/>
            <a:gdLst>
              <a:gd name="connsiteX0" fmla="*/ 0 w 6282267"/>
              <a:gd name="connsiteY0" fmla="*/ 0 h 6858000"/>
              <a:gd name="connsiteX1" fmla="*/ 6282267 w 6282267"/>
              <a:gd name="connsiteY1" fmla="*/ 0 h 6858000"/>
              <a:gd name="connsiteX2" fmla="*/ 6282267 w 6282267"/>
              <a:gd name="connsiteY2" fmla="*/ 6858000 h 6858000"/>
              <a:gd name="connsiteX3" fmla="*/ 0 w 6282267"/>
              <a:gd name="connsiteY3" fmla="*/ 6858000 h 6858000"/>
              <a:gd name="connsiteX4" fmla="*/ 186266 w 6282267"/>
              <a:gd name="connsiteY4" fmla="*/ 6578600 h 6858000"/>
              <a:gd name="connsiteX5" fmla="*/ 186266 w 6282267"/>
              <a:gd name="connsiteY5" fmla="*/ 279400 h 6858000"/>
              <a:gd name="connsiteX6" fmla="*/ 0 w 628226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82267" h="6858000">
                <a:moveTo>
                  <a:pt x="0" y="0"/>
                </a:moveTo>
                <a:lnTo>
                  <a:pt x="6282267" y="0"/>
                </a:lnTo>
                <a:lnTo>
                  <a:pt x="6282267" y="6858000"/>
                </a:lnTo>
                <a:lnTo>
                  <a:pt x="0" y="6858000"/>
                </a:lnTo>
                <a:cubicBezTo>
                  <a:pt x="102870" y="6858000"/>
                  <a:pt x="186266" y="6732906"/>
                  <a:pt x="186266" y="6578600"/>
                </a:cubicBezTo>
                <a:lnTo>
                  <a:pt x="186266" y="279400"/>
                </a:lnTo>
                <a:cubicBezTo>
                  <a:pt x="186266" y="125095"/>
                  <a:pt x="102870" y="0"/>
                  <a:pt x="0" y="0"/>
                </a:cubicBezTo>
                <a:close/>
              </a:path>
            </a:pathLst>
          </a:custGeom>
          <a:noFill/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071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0">
          <p15:clr>
            <a:srgbClr val="FFC000"/>
          </p15:clr>
        </p15:guide>
        <p15:guide id="2" pos="933">
          <p15:clr>
            <a:srgbClr val="FFC000"/>
          </p15:clr>
        </p15:guide>
        <p15:guide id="3" pos="3395">
          <p15:clr>
            <a:srgbClr val="FFC000"/>
          </p15:clr>
        </p15:guide>
        <p15:guide id="4" orient="horz" pos="2904">
          <p15:clr>
            <a:srgbClr val="FFC000"/>
          </p15:clr>
        </p15:guide>
        <p15:guide id="5" orient="horz" pos="1898">
          <p15:clr>
            <a:srgbClr val="FFC000"/>
          </p15:clr>
        </p15:guide>
        <p15:guide id="6" orient="horz" pos="906">
          <p15:clr>
            <a:srgbClr val="FFC000"/>
          </p15:clr>
        </p15:guide>
        <p15:guide id="7" orient="horz" pos="865">
          <p15:clr>
            <a:srgbClr val="FFC000"/>
          </p15:clr>
        </p15:guide>
        <p15:guide id="8" orient="horz" pos="3958">
          <p15:clr>
            <a:srgbClr val="FFC000"/>
          </p15:clr>
        </p15:guide>
        <p15:guide id="9" pos="7500">
          <p15:clr>
            <a:srgbClr val="FFC000"/>
          </p15:clr>
        </p15:guide>
        <p15:guide id="10" pos="181">
          <p15:clr>
            <a:srgbClr val="FFC000"/>
          </p15:clr>
        </p15:guide>
        <p15:guide id="11" orient="horz" pos="4142">
          <p15:clr>
            <a:srgbClr val="FFC000"/>
          </p15:clr>
        </p15:guide>
        <p15:guide id="12" orient="horz" pos="169">
          <p15:clr>
            <a:srgbClr val="FFC00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arge light Q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C45C550-67C8-8E0E-76B2-10F7BAEB016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11048" y="145080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226A956F-BF0B-11B1-BA4F-4767F296B544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6170764" y="13824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Picture Placeholder 11">
            <a:extLst>
              <a:ext uri="{FF2B5EF4-FFF2-40B4-BE49-F238E27FC236}">
                <a16:creationId xmlns:a16="http://schemas.microsoft.com/office/drawing/2014/main" id="{438F40B8-7652-6E88-69E0-B92FC96B573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373429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Graphic 4">
            <a:extLst>
              <a:ext uri="{FF2B5EF4-FFF2-40B4-BE49-F238E27FC236}">
                <a16:creationId xmlns:a16="http://schemas.microsoft.com/office/drawing/2014/main" id="{33822B56-2745-A858-3257-80FB40780FCC}"/>
              </a:ext>
            </a:extLst>
          </p:cNvPr>
          <p:cNvSpPr/>
          <p:nvPr userDrawn="1"/>
        </p:nvSpPr>
        <p:spPr>
          <a:xfrm>
            <a:off x="1" y="0"/>
            <a:ext cx="6095999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D4BCF3A-E840-FCDD-9184-2221A5C0BB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8019" y="1449710"/>
            <a:ext cx="2850381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D243E11-8E72-D649-9697-C9981D6623B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87735" y="138218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4835CDC1-F8C7-A956-0DD0-5C2E70DCE6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7200" y="3034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5628CBD7-854B-C707-E64F-D2CF8FAA03B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288000" y="2968105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13FB9B7-5B49-2117-D855-D5413EA85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7200" y="4618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BCBAD1A4-79FD-DE3D-8CE3-0D4219554B32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88000" y="4551729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D0F0A-16D5-776E-3ADB-36FD339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72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BBF85-B16E-83A4-E1DA-F188610B58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78000" y="6450420"/>
            <a:ext cx="4063737" cy="144000"/>
          </a:xfrm>
        </p:spPr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2FDCBB-7447-B9D7-407C-707AD8CDF5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697F8B-7D49-E806-0B98-F3B6AFD17709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909B6-6900-6B25-A7C5-5D16C08955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490400" y="1450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91E32B3-D028-E1C6-CA1D-3EBFA9BD27A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904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517D935-6131-7EA8-AED7-A6ED7082FEF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904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6066C757-B811-657B-3587-2CB2D5EE671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09600" y="3034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Picture Placeholder 14">
            <a:extLst>
              <a:ext uri="{FF2B5EF4-FFF2-40B4-BE49-F238E27FC236}">
                <a16:creationId xmlns:a16="http://schemas.microsoft.com/office/drawing/2014/main" id="{D75DA5FC-FAB4-BE50-0AF6-4801151645F3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6170400" y="29700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553B8A1D-0F52-FC28-B579-9725A8C28F5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409600" y="4618800"/>
            <a:ext cx="2851200" cy="1080705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0" indent="0">
              <a:spcAft>
                <a:spcPts val="1400"/>
              </a:spcAft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4pPr>
            <a:lvl5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5pPr>
            <a:lvl6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6pPr>
            <a:lvl7pPr algn="l">
              <a:spcAft>
                <a:spcPts val="0"/>
              </a:spcAft>
              <a:defRPr sz="1200" b="0">
                <a:solidFill>
                  <a:schemeClr val="tx2"/>
                </a:solidFill>
              </a:defRPr>
            </a:lvl7pPr>
            <a:lvl8pPr algn="l">
              <a:spcAft>
                <a:spcPts val="0"/>
              </a:spcAft>
              <a:defRPr sz="1200">
                <a:solidFill>
                  <a:schemeClr val="tx2"/>
                </a:solidFill>
              </a:defRPr>
            </a:lvl8pPr>
            <a:lvl9pPr algn="l">
              <a:lnSpc>
                <a:spcPct val="100000"/>
              </a:lnSpc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Picture Placeholder 14">
            <a:extLst>
              <a:ext uri="{FF2B5EF4-FFF2-40B4-BE49-F238E27FC236}">
                <a16:creationId xmlns:a16="http://schemas.microsoft.com/office/drawing/2014/main" id="{BFE1E6D1-EC3E-D0A2-7C0B-A87A65F18092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6170400" y="4550400"/>
            <a:ext cx="961200" cy="961200"/>
          </a:xfrm>
          <a:prstGeom prst="ellipse">
            <a:avLst/>
          </a:prstGeo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Picture Placeholder 11">
            <a:extLst>
              <a:ext uri="{FF2B5EF4-FFF2-40B4-BE49-F238E27FC236}">
                <a16:creationId xmlns:a16="http://schemas.microsoft.com/office/drawing/2014/main" id="{C3D8EE79-660C-D0CF-5B57-462E641198C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72800" y="3034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Picture Placeholder 11">
            <a:extLst>
              <a:ext uri="{FF2B5EF4-FFF2-40B4-BE49-F238E27FC236}">
                <a16:creationId xmlns:a16="http://schemas.microsoft.com/office/drawing/2014/main" id="{7BA30EF2-DB58-8C3A-3BAA-2769229A1D4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372800" y="4618800"/>
            <a:ext cx="831600" cy="831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5624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1">
          <p15:clr>
            <a:srgbClr val="FFC000"/>
          </p15:clr>
        </p15:guide>
        <p15:guide id="2" pos="5289">
          <p15:clr>
            <a:srgbClr val="FFC000"/>
          </p15:clr>
        </p15:guide>
        <p15:guide id="3" pos="4633">
          <p15:clr>
            <a:srgbClr val="FFC000"/>
          </p15:clr>
        </p15:guide>
        <p15:guide id="4" pos="7095">
          <p15:clr>
            <a:srgbClr val="FFC000"/>
          </p15:clr>
        </p15:guide>
        <p15:guide id="5" pos="1590">
          <p15:clr>
            <a:srgbClr val="FFC000"/>
          </p15:clr>
        </p15:guide>
        <p15:guide id="6" pos="933">
          <p15:clr>
            <a:srgbClr val="FFC000"/>
          </p15:clr>
        </p15:guide>
        <p15:guide id="7" pos="3395">
          <p15:clr>
            <a:srgbClr val="FFC000"/>
          </p15:clr>
        </p15:guide>
        <p15:guide id="8" orient="horz" pos="2904">
          <p15:clr>
            <a:srgbClr val="FFC000"/>
          </p15:clr>
        </p15:guide>
        <p15:guide id="9" orient="horz" pos="1898">
          <p15:clr>
            <a:srgbClr val="FFC000"/>
          </p15:clr>
        </p15:guide>
        <p15:guide id="10" orient="horz" pos="906">
          <p15:clr>
            <a:srgbClr val="FFC000"/>
          </p15:clr>
        </p15:guide>
        <p15:guide id="11" orient="horz" pos="865">
          <p15:clr>
            <a:srgbClr val="FFC000"/>
          </p15:clr>
        </p15:guide>
        <p15:guide id="12" orient="horz" pos="3958">
          <p15:clr>
            <a:srgbClr val="FFC000"/>
          </p15:clr>
        </p15:guide>
        <p15:guide id="13" pos="7500">
          <p15:clr>
            <a:srgbClr val="FFC000"/>
          </p15:clr>
        </p15:guide>
        <p15:guide id="14" pos="181">
          <p15:clr>
            <a:srgbClr val="FFC000"/>
          </p15:clr>
        </p15:guide>
        <p15:guide id="15" orient="horz" pos="4142">
          <p15:clr>
            <a:srgbClr val="FFC000"/>
          </p15:clr>
        </p15:guide>
        <p15:guide id="16" orient="horz" pos="169">
          <p15:clr>
            <a:srgbClr val="FFC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ighlight light, Lin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4">
            <a:extLst>
              <a:ext uri="{FF2B5EF4-FFF2-40B4-BE49-F238E27FC236}">
                <a16:creationId xmlns:a16="http://schemas.microsoft.com/office/drawing/2014/main" id="{A6809639-270D-4927-6DDD-E3223F5BC16C}"/>
              </a:ext>
            </a:extLst>
          </p:cNvPr>
          <p:cNvSpPr/>
          <p:nvPr/>
        </p:nvSpPr>
        <p:spPr>
          <a:xfrm>
            <a:off x="599" y="0"/>
            <a:ext cx="9143997" cy="6858000"/>
          </a:xfrm>
          <a:custGeom>
            <a:avLst/>
            <a:gdLst>
              <a:gd name="connsiteX0" fmla="*/ 0 w 9143997"/>
              <a:gd name="connsiteY0" fmla="*/ 0 h 6858000"/>
              <a:gd name="connsiteX1" fmla="*/ 0 w 9143997"/>
              <a:gd name="connsiteY1" fmla="*/ 6858000 h 6858000"/>
              <a:gd name="connsiteX2" fmla="*/ 8864597 w 9143997"/>
              <a:gd name="connsiteY2" fmla="*/ 6858000 h 6858000"/>
              <a:gd name="connsiteX3" fmla="*/ 9143997 w 9143997"/>
              <a:gd name="connsiteY3" fmla="*/ 6578600 h 6858000"/>
              <a:gd name="connsiteX4" fmla="*/ 9143997 w 9143997"/>
              <a:gd name="connsiteY4" fmla="*/ 279400 h 6858000"/>
              <a:gd name="connsiteX5" fmla="*/ 8864597 w 9143997"/>
              <a:gd name="connsiteY5" fmla="*/ 0 h 6858000"/>
              <a:gd name="connsiteX6" fmla="*/ 0 w 914399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3997" h="6858000">
                <a:moveTo>
                  <a:pt x="0" y="0"/>
                </a:moveTo>
                <a:lnTo>
                  <a:pt x="0" y="6858000"/>
                </a:lnTo>
                <a:lnTo>
                  <a:pt x="8864597" y="6858000"/>
                </a:lnTo>
                <a:cubicBezTo>
                  <a:pt x="9018903" y="6858000"/>
                  <a:pt x="9143997" y="6732906"/>
                  <a:pt x="9143997" y="6578600"/>
                </a:cubicBezTo>
                <a:lnTo>
                  <a:pt x="9143997" y="279400"/>
                </a:lnTo>
                <a:cubicBezTo>
                  <a:pt x="9143997" y="125095"/>
                  <a:pt x="9018903" y="0"/>
                  <a:pt x="886459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B85636-DA4C-1422-EF5D-90868891B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7617600" cy="61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6F1E-916B-02DC-B961-FC0003BC8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1379538"/>
            <a:ext cx="7617600" cy="49037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B7536-813E-8070-C2E4-DF1A0FBF5358}"/>
              </a:ext>
            </a:extLst>
          </p:cNvPr>
          <p:cNvSpPr/>
          <p:nvPr/>
        </p:nvSpPr>
        <p:spPr>
          <a:xfrm>
            <a:off x="288000" y="1036800"/>
            <a:ext cx="7617600" cy="25200"/>
          </a:xfrm>
          <a:prstGeom prst="rect">
            <a:avLst/>
          </a:prstGeom>
          <a:solidFill>
            <a:srgbClr val="003C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FC2DA26-A410-2B50-8114-4C1DF682F0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CD463D-018F-6051-2067-66933EBD6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Grafik 10">
            <a:extLst>
              <a:ext uri="{FF2B5EF4-FFF2-40B4-BE49-F238E27FC236}">
                <a16:creationId xmlns:a16="http://schemas.microsoft.com/office/drawing/2014/main" id="{FC9AD835-EDF7-941C-5AC5-D89F9EE7FA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039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4981">
          <p15:clr>
            <a:srgbClr val="FFC000"/>
          </p15:clr>
        </p15:guide>
        <p15:guide id="4" pos="7500">
          <p15:clr>
            <a:srgbClr val="FFC000"/>
          </p15:clr>
        </p15:guide>
        <p15:guide id="5" pos="181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69">
          <p15:clr>
            <a:srgbClr val="FFC00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BCED6-8891-A832-3C0A-9345E3B25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975940-1288-FF90-7A5E-C4F6F23C3282}"/>
              </a:ext>
            </a:extLst>
          </p:cNvPr>
          <p:cNvSpPr/>
          <p:nvPr userDrawn="1"/>
        </p:nvSpPr>
        <p:spPr>
          <a:xfrm>
            <a:off x="287338" y="1036800"/>
            <a:ext cx="26172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9F3BD1D-1CC2-2F07-D67E-F6637C2FBA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87CFEA-9729-4263-17A0-DA881A8DA1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14578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9">
          <p15:clr>
            <a:srgbClr val="FFC000"/>
          </p15:clr>
        </p15:guide>
        <p15:guide id="2" pos="2503">
          <p15:clr>
            <a:srgbClr val="FFC000"/>
          </p15:clr>
        </p15:guide>
        <p15:guide id="3" pos="2071">
          <p15:clr>
            <a:srgbClr val="FFC000"/>
          </p15:clr>
        </p15:guide>
        <p15:guide id="4" pos="1891">
          <p15:clr>
            <a:srgbClr val="FFC000"/>
          </p15:clr>
        </p15:guide>
        <p15:guide id="5" pos="1436">
          <p15:clr>
            <a:srgbClr val="FFC000"/>
          </p15:clr>
        </p15:guide>
        <p15:guide id="6" pos="1255">
          <p15:clr>
            <a:srgbClr val="FFC000"/>
          </p15:clr>
        </p15:guide>
        <p15:guide id="7" pos="804">
          <p15:clr>
            <a:srgbClr val="FFC000"/>
          </p15:clr>
        </p15:guide>
        <p15:guide id="8" pos="620">
          <p15:clr>
            <a:srgbClr val="FFC000"/>
          </p15:clr>
        </p15:guide>
        <p15:guide id="9" pos="181">
          <p15:clr>
            <a:srgbClr val="FFC000"/>
          </p15:clr>
        </p15:guide>
        <p15:guide id="10" pos="2684">
          <p15:clr>
            <a:srgbClr val="FFC000"/>
          </p15:clr>
        </p15:guide>
        <p15:guide id="11" pos="3295">
          <p15:clr>
            <a:srgbClr val="FFC000"/>
          </p15:clr>
        </p15:guide>
        <p15:guide id="12" pos="3113">
          <p15:clr>
            <a:srgbClr val="FFC000"/>
          </p15:clr>
        </p15:guide>
        <p15:guide id="13" pos="3751">
          <p15:clr>
            <a:srgbClr val="FFC000"/>
          </p15:clr>
        </p15:guide>
        <p15:guide id="14" pos="7061">
          <p15:clr>
            <a:srgbClr val="FFC000"/>
          </p15:clr>
        </p15:guide>
        <p15:guide id="15" pos="6901">
          <p15:clr>
            <a:srgbClr val="FFC000"/>
          </p15:clr>
        </p15:guide>
        <p15:guide id="16" pos="6449">
          <p15:clr>
            <a:srgbClr val="FFC000"/>
          </p15:clr>
        </p15:guide>
        <p15:guide id="17" pos="6269">
          <p15:clr>
            <a:srgbClr val="FFC000"/>
          </p15:clr>
        </p15:guide>
        <p15:guide id="18" pos="5816">
          <p15:clr>
            <a:srgbClr val="FFC000"/>
          </p15:clr>
        </p15:guide>
        <p15:guide id="19" pos="5634">
          <p15:clr>
            <a:srgbClr val="FFC000"/>
          </p15:clr>
        </p15:guide>
        <p15:guide id="20" pos="5178">
          <p15:clr>
            <a:srgbClr val="FFC000"/>
          </p15:clr>
        </p15:guide>
        <p15:guide id="21" pos="4998">
          <p15:clr>
            <a:srgbClr val="FFC000"/>
          </p15:clr>
        </p15:guide>
        <p15:guide id="22" pos="4544">
          <p15:clr>
            <a:srgbClr val="FFC000"/>
          </p15:clr>
        </p15:guide>
        <p15:guide id="23" pos="4385">
          <p15:clr>
            <a:srgbClr val="FFC000"/>
          </p15:clr>
        </p15:guide>
        <p15:guide id="24" pos="3931">
          <p15:clr>
            <a:srgbClr val="FFC000"/>
          </p15:clr>
        </p15:guide>
        <p15:guide id="25" orient="horz" pos="4141">
          <p15:clr>
            <a:srgbClr val="FFC000"/>
          </p15:clr>
        </p15:guide>
        <p15:guide id="26" orient="horz" pos="3962">
          <p15:clr>
            <a:srgbClr val="FFC000"/>
          </p15:clr>
        </p15:guide>
        <p15:guide id="27" orient="horz" pos="166">
          <p15:clr>
            <a:srgbClr val="FFC00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0130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10">
            <a:extLst>
              <a:ext uri="{FF2B5EF4-FFF2-40B4-BE49-F238E27FC236}">
                <a16:creationId xmlns:a16="http://schemas.microsoft.com/office/drawing/2014/main" id="{1BAE6905-FD07-5B0D-CB7E-5FE54EA1E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94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0">
            <a:extLst>
              <a:ext uri="{FF2B5EF4-FFF2-40B4-BE49-F238E27FC236}">
                <a16:creationId xmlns:a16="http://schemas.microsoft.com/office/drawing/2014/main" id="{6971360E-DEC6-482A-0192-70EC9DBBF4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188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ay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47211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 Blue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E708F-318D-DB3A-6E2A-BE8A9C18B0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F5C0C-0D1F-97BE-AC4B-280BC2E463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F3412-00EB-454F-952B-1EB5D3D6930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0">
            <a:extLst>
              <a:ext uri="{FF2B5EF4-FFF2-40B4-BE49-F238E27FC236}">
                <a16:creationId xmlns:a16="http://schemas.microsoft.com/office/drawing/2014/main" id="{6971360E-DEC6-482A-0192-70EC9DBBF4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460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0">
          <p15:clr>
            <a:srgbClr val="FFC000"/>
          </p15:clr>
        </p15:guide>
        <p15:guide id="2" pos="181">
          <p15:clr>
            <a:srgbClr val="FFC000"/>
          </p15:clr>
        </p15:guide>
        <p15:guide id="3" orient="horz" pos="4142">
          <p15:clr>
            <a:srgbClr val="FFC000"/>
          </p15:clr>
        </p15:guide>
        <p15:guide id="4" orient="horz" pos="169">
          <p15:clr>
            <a:srgbClr val="FFC00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3C3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0">
            <a:extLst>
              <a:ext uri="{FF2B5EF4-FFF2-40B4-BE49-F238E27FC236}">
                <a16:creationId xmlns:a16="http://schemas.microsoft.com/office/drawing/2014/main" id="{B94BCFD9-747C-BA52-E311-DE236FD4E5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8645" y="3200400"/>
            <a:ext cx="347471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98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060BA6-1AFE-6EC1-D964-3568D124C7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9012CB-9309-1EF8-7AD0-F24DD6A5F5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338" y="2375159"/>
            <a:ext cx="5310187" cy="720000"/>
          </a:xfrm>
          <a:noFill/>
        </p:spPr>
        <p:txBody>
          <a:bodyPr anchor="t" anchorCtr="0"/>
          <a:lstStyle>
            <a:lvl1pPr algn="l">
              <a:lnSpc>
                <a:spcPct val="98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6B90887-ED35-5A20-7C9B-459ACC258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525" y="3024913"/>
            <a:ext cx="5310000" cy="1800000"/>
          </a:xfrm>
        </p:spPr>
        <p:txBody>
          <a:bodyPr tIns="259200"/>
          <a:lstStyle>
            <a:lvl1pPr marL="0" indent="0" algn="l">
              <a:lnSpc>
                <a:spcPct val="100000"/>
              </a:lnSpc>
              <a:spcAft>
                <a:spcPts val="16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00" b="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00000"/>
              </a:lnSpc>
              <a:buNone/>
              <a:defRPr sz="1400"/>
            </a:lvl7pPr>
            <a:lvl8pPr marL="0" indent="0" algn="l">
              <a:lnSpc>
                <a:spcPct val="100000"/>
              </a:lnSpc>
              <a:buNone/>
              <a:defRPr sz="1400"/>
            </a:lvl8pPr>
            <a:lvl9pPr marL="0" indent="0" algn="l">
              <a:lnSpc>
                <a:spcPct val="100000"/>
              </a:lnSpc>
              <a:buNone/>
              <a:defRPr sz="1400"/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9C6DEC-DBDD-FC01-FA7E-98919C01D9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38" y="283377"/>
            <a:ext cx="2311200" cy="30338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1BBB2-EB11-D2F5-8AC3-BBF9BB3D2A20}"/>
              </a:ext>
            </a:extLst>
          </p:cNvPr>
          <p:cNvCxnSpPr/>
          <p:nvPr userDrawn="1"/>
        </p:nvCxnSpPr>
        <p:spPr>
          <a:xfrm>
            <a:off x="287336" y="2093439"/>
            <a:ext cx="531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5A68FFC5-B3C2-494C-58EE-8E70F9FDCA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15" y="6440208"/>
            <a:ext cx="1515600" cy="16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70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96">
          <p15:clr>
            <a:srgbClr val="FFC000"/>
          </p15:clr>
        </p15:guide>
        <p15:guide id="2" orient="horz" pos="3958">
          <p15:clr>
            <a:srgbClr val="FFC000"/>
          </p15:clr>
        </p15:guide>
        <p15:guide id="3" orient="horz" pos="865">
          <p15:clr>
            <a:srgbClr val="FFC000"/>
          </p15:clr>
        </p15:guide>
        <p15:guide id="4" pos="7497">
          <p15:clr>
            <a:srgbClr val="FFC000"/>
          </p15:clr>
        </p15:guide>
        <p15:guide id="5" pos="178">
          <p15:clr>
            <a:srgbClr val="FFC000"/>
          </p15:clr>
        </p15:guide>
        <p15:guide id="6" orient="horz" pos="4142">
          <p15:clr>
            <a:srgbClr val="FFC000"/>
          </p15:clr>
        </p15:guide>
        <p15:guide id="7" orient="horz" pos="173">
          <p15:clr>
            <a:srgbClr val="FFC00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060BA6-1AFE-6EC1-D964-3568D124C7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9012CB-9309-1EF8-7AD0-F24DD6A5F5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338" y="2375159"/>
            <a:ext cx="5310187" cy="720000"/>
          </a:xfrm>
          <a:noFill/>
        </p:spPr>
        <p:txBody>
          <a:bodyPr anchor="t" anchorCtr="0"/>
          <a:lstStyle>
            <a:lvl1pPr algn="l">
              <a:lnSpc>
                <a:spcPct val="98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6B90887-ED35-5A20-7C9B-459ACC258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7336" y="3024000"/>
            <a:ext cx="5310000" cy="1800000"/>
          </a:xfrm>
        </p:spPr>
        <p:txBody>
          <a:bodyPr tIns="259200"/>
          <a:lstStyle>
            <a:lvl1pPr marL="0" indent="0" algn="l">
              <a:spcAft>
                <a:spcPts val="1600"/>
              </a:spcAft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9C6DEC-DBDD-FC01-FA7E-98919C01D9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096" y="283377"/>
            <a:ext cx="2305683" cy="30338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1BBB2-EB11-D2F5-8AC3-BBF9BB3D2A20}"/>
              </a:ext>
            </a:extLst>
          </p:cNvPr>
          <p:cNvCxnSpPr/>
          <p:nvPr userDrawn="1"/>
        </p:nvCxnSpPr>
        <p:spPr>
          <a:xfrm>
            <a:off x="287336" y="2093439"/>
            <a:ext cx="531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DB840ED-5D5E-5D88-FCF7-2D2ABA7BB0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315" y="6440208"/>
            <a:ext cx="1515600" cy="16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64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FFC000"/>
          </p15:clr>
        </p15:guide>
        <p15:guide id="2" orient="horz" pos="3957">
          <p15:clr>
            <a:srgbClr val="FFC000"/>
          </p15:clr>
        </p15:guide>
        <p15:guide id="3" pos="3839">
          <p15:clr>
            <a:srgbClr val="FFC000"/>
          </p15:clr>
        </p15:guide>
        <p15:guide id="4" orient="horz" pos="1495">
          <p15:clr>
            <a:srgbClr val="FFC000"/>
          </p15:clr>
        </p15:guide>
        <p15:guide id="5" pos="3525">
          <p15:clr>
            <a:srgbClr val="FFC000"/>
          </p15:clr>
        </p15:guide>
        <p15:guide id="6" pos="7500">
          <p15:clr>
            <a:srgbClr val="FFC000"/>
          </p15:clr>
        </p15:guide>
        <p15:guide id="7" pos="181">
          <p15:clr>
            <a:srgbClr val="FFC000"/>
          </p15:clr>
        </p15:guide>
        <p15:guide id="8" orient="horz" pos="4142">
          <p15:clr>
            <a:srgbClr val="FFC000"/>
          </p15:clr>
        </p15:guide>
        <p15:guide id="9" orient="horz" pos="169">
          <p15:clr>
            <a:srgbClr val="FFC00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ght with picture">
    <p:bg>
      <p:bgPr>
        <a:solidFill>
          <a:srgbClr val="2542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>
            <a:extLst>
              <a:ext uri="{FF2B5EF4-FFF2-40B4-BE49-F238E27FC236}">
                <a16:creationId xmlns:a16="http://schemas.microsoft.com/office/drawing/2014/main" id="{0DDA66E8-9E80-6F8E-3097-58A7888CC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1366" y="6421753"/>
            <a:ext cx="1152841" cy="151690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264148-2665-8D2E-D76E-A0FC2595BD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88298" y="0"/>
            <a:ext cx="9503702" cy="6858000"/>
          </a:xfrm>
          <a:custGeom>
            <a:avLst/>
            <a:gdLst>
              <a:gd name="connsiteX0" fmla="*/ 0 w 9503702"/>
              <a:gd name="connsiteY0" fmla="*/ 0 h 6858000"/>
              <a:gd name="connsiteX1" fmla="*/ 9503702 w 9503702"/>
              <a:gd name="connsiteY1" fmla="*/ 0 h 6858000"/>
              <a:gd name="connsiteX2" fmla="*/ 9503702 w 9503702"/>
              <a:gd name="connsiteY2" fmla="*/ 6858000 h 6858000"/>
              <a:gd name="connsiteX3" fmla="*/ 0 w 9503702"/>
              <a:gd name="connsiteY3" fmla="*/ 6858000 h 6858000"/>
              <a:gd name="connsiteX4" fmla="*/ 287998 w 9503702"/>
              <a:gd name="connsiteY4" fmla="*/ 6570002 h 6858000"/>
              <a:gd name="connsiteX5" fmla="*/ 287998 w 9503702"/>
              <a:gd name="connsiteY5" fmla="*/ 287998 h 6858000"/>
              <a:gd name="connsiteX6" fmla="*/ 0 w 950370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03702" h="6858000">
                <a:moveTo>
                  <a:pt x="0" y="0"/>
                </a:moveTo>
                <a:lnTo>
                  <a:pt x="9503702" y="0"/>
                </a:lnTo>
                <a:lnTo>
                  <a:pt x="9503702" y="6858000"/>
                </a:lnTo>
                <a:lnTo>
                  <a:pt x="0" y="6858000"/>
                </a:lnTo>
                <a:cubicBezTo>
                  <a:pt x="159055" y="6858000"/>
                  <a:pt x="287998" y="6729057"/>
                  <a:pt x="287998" y="6570002"/>
                </a:cubicBezTo>
                <a:lnTo>
                  <a:pt x="287998" y="287998"/>
                </a:lnTo>
                <a:cubicBezTo>
                  <a:pt x="287998" y="128943"/>
                  <a:pt x="159055" y="0"/>
                  <a:pt x="0" y="0"/>
                </a:cubicBezTo>
                <a:close/>
              </a:path>
            </a:pathLst>
          </a:custGeom>
        </p:spPr>
        <p:txBody>
          <a:bodyPr wrap="square" lIns="288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60519756-9CDE-8EE4-E39E-1EBAFA638834}"/>
              </a:ext>
            </a:extLst>
          </p:cNvPr>
          <p:cNvSpPr/>
          <p:nvPr userDrawn="1"/>
        </p:nvSpPr>
        <p:spPr>
          <a:xfrm>
            <a:off x="0" y="0"/>
            <a:ext cx="2976295" cy="6858000"/>
          </a:xfrm>
          <a:custGeom>
            <a:avLst/>
            <a:gdLst>
              <a:gd name="connsiteX0" fmla="*/ 0 w 2976295"/>
              <a:gd name="connsiteY0" fmla="*/ 0 h 6858000"/>
              <a:gd name="connsiteX1" fmla="*/ 0 w 2976295"/>
              <a:gd name="connsiteY1" fmla="*/ 6858000 h 6858000"/>
              <a:gd name="connsiteX2" fmla="*/ 2688298 w 2976295"/>
              <a:gd name="connsiteY2" fmla="*/ 6858000 h 6858000"/>
              <a:gd name="connsiteX3" fmla="*/ 2976296 w 2976295"/>
              <a:gd name="connsiteY3" fmla="*/ 6570002 h 6858000"/>
              <a:gd name="connsiteX4" fmla="*/ 2976296 w 2976295"/>
              <a:gd name="connsiteY4" fmla="*/ 287998 h 6858000"/>
              <a:gd name="connsiteX5" fmla="*/ 2688298 w 2976295"/>
              <a:gd name="connsiteY5" fmla="*/ 0 h 6858000"/>
              <a:gd name="connsiteX6" fmla="*/ 0 w 297629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6295" h="6858000">
                <a:moveTo>
                  <a:pt x="0" y="0"/>
                </a:moveTo>
                <a:lnTo>
                  <a:pt x="0" y="6858000"/>
                </a:lnTo>
                <a:lnTo>
                  <a:pt x="2688298" y="6858000"/>
                </a:lnTo>
                <a:cubicBezTo>
                  <a:pt x="2847353" y="6858000"/>
                  <a:pt x="2976296" y="6729057"/>
                  <a:pt x="2976296" y="6570002"/>
                </a:cubicBezTo>
                <a:lnTo>
                  <a:pt x="2976296" y="287998"/>
                </a:lnTo>
                <a:cubicBezTo>
                  <a:pt x="2976296" y="128943"/>
                  <a:pt x="2847353" y="0"/>
                  <a:pt x="268829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737160-023D-A9FB-7B86-92B8ABC9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98" y="2418168"/>
            <a:ext cx="2401200" cy="972000"/>
          </a:xfrm>
        </p:spPr>
        <p:txBody>
          <a:bodyPr anchor="t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EE7763-A804-2BC3-47DE-9FD8018D39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382" y="209550"/>
            <a:ext cx="2472859" cy="1925597"/>
          </a:xfrm>
        </p:spPr>
        <p:txBody>
          <a:bodyPr/>
          <a:lstStyle>
            <a:lvl1pPr>
              <a:lnSpc>
                <a:spcPct val="89000"/>
              </a:lnSpc>
              <a:spcAft>
                <a:spcPts val="600"/>
              </a:spcAft>
              <a:defRPr sz="17000" b="0" kern="1200" spc="-500" baseline="0">
                <a:solidFill>
                  <a:schemeClr val="accent1"/>
                </a:solidFill>
              </a:defRPr>
            </a:lvl1pPr>
            <a:lvl2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2pPr>
            <a:lvl3pPr marL="27000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3pPr>
            <a:lvl4pPr marL="0" indent="0">
              <a:lnSpc>
                <a:spcPct val="89000"/>
              </a:lnSpc>
              <a:spcAft>
                <a:spcPts val="600"/>
              </a:spcAft>
              <a:buFont typeface="Arial" panose="020B0604020202020204" pitchFamily="34" charset="0"/>
              <a:buNone/>
              <a:defRPr sz="17000" b="0">
                <a:solidFill>
                  <a:schemeClr val="accent1"/>
                </a:solidFill>
              </a:defRPr>
            </a:lvl4pPr>
            <a:lvl5pPr marL="0" indent="0">
              <a:lnSpc>
                <a:spcPct val="89000"/>
              </a:lnSpc>
              <a:spcAft>
                <a:spcPts val="600"/>
              </a:spcAft>
              <a:buNone/>
              <a:defRPr sz="170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CF035E-3E24-71F2-ECCF-0FC3A9F69A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265200" y="6450420"/>
            <a:ext cx="6656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EFAE0E-A49B-4091-85D7-B91D0281AED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Online Image Placeholder 9">
            <a:extLst>
              <a:ext uri="{FF2B5EF4-FFF2-40B4-BE49-F238E27FC236}">
                <a16:creationId xmlns:a16="http://schemas.microsoft.com/office/drawing/2014/main" id="{E0787F05-BFE0-BCD8-3023-E6D2DDA482BC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clipArt" sz="quarter" idx="20" hasCustomPrompt="1"/>
          </p:nvPr>
        </p:nvSpPr>
        <p:spPr>
          <a:xfrm>
            <a:off x="288000" y="2228400"/>
            <a:ext cx="3679200" cy="254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1" name="Online Image Placeholder 9">
            <a:extLst>
              <a:ext uri="{FF2B5EF4-FFF2-40B4-BE49-F238E27FC236}">
                <a16:creationId xmlns:a16="http://schemas.microsoft.com/office/drawing/2014/main" id="{A7429042-57AB-06D1-342B-2011144DE1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lipArt" sz="quarter" idx="21" hasCustomPrompt="1"/>
          </p:nvPr>
        </p:nvSpPr>
        <p:spPr>
          <a:xfrm>
            <a:off x="10751366" y="2228400"/>
            <a:ext cx="1440634" cy="25200"/>
          </a:xfrm>
          <a:solidFill>
            <a:schemeClr val="accent1"/>
          </a:solidFill>
        </p:spPr>
        <p:txBody>
          <a:bodyPr/>
          <a:lstStyle>
            <a:lvl1pPr>
              <a:defRPr sz="100" b="0">
                <a:solidFill>
                  <a:srgbClr val="3C3E00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384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FFC000"/>
          </p15:clr>
        </p15:guide>
        <p15:guide id="2" orient="horz" pos="1350">
          <p15:clr>
            <a:srgbClr val="FFC000"/>
          </p15:clr>
        </p15:guide>
        <p15:guide id="3" orient="horz" pos="1518">
          <p15:clr>
            <a:srgbClr val="FFC000"/>
          </p15:clr>
        </p15:guide>
        <p15:guide id="4" pos="1704">
          <p15:clr>
            <a:srgbClr val="FFC000"/>
          </p15:clr>
        </p15:guide>
        <p15:guide id="5" pos="7500">
          <p15:clr>
            <a:srgbClr val="FFC000"/>
          </p15:clr>
        </p15:guide>
        <p15:guide id="6" pos="181">
          <p15:clr>
            <a:srgbClr val="FFC000"/>
          </p15:clr>
        </p15:guide>
        <p15:guide id="7" orient="horz" pos="4142">
          <p15:clr>
            <a:srgbClr val="FFC000"/>
          </p15:clr>
        </p15:guide>
        <p15:guide id="8" orient="horz" pos="169">
          <p15:clr>
            <a:srgbClr val="FFC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slideLayout" Target="../slideLayouts/slideLayout88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8" Type="http://schemas.openxmlformats.org/officeDocument/2006/relationships/slideLayout" Target="../slideLayouts/slideLayout55.xml"/><Relationship Id="rId51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9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38.xml"/><Relationship Id="rId47" Type="http://schemas.openxmlformats.org/officeDocument/2006/relationships/slideLayout" Target="../slideLayouts/slideLayout143.xml"/><Relationship Id="rId50" Type="http://schemas.openxmlformats.org/officeDocument/2006/relationships/theme" Target="../theme/theme3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slideLayout" Target="../slideLayouts/slideLayout125.xml"/><Relationship Id="rId41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37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36.xml"/><Relationship Id="rId45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slideLayout" Target="../slideLayouts/slideLayout132.xml"/><Relationship Id="rId49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4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43" Type="http://schemas.openxmlformats.org/officeDocument/2006/relationships/slideLayout" Target="../slideLayouts/slideLayout139.xml"/><Relationship Id="rId48" Type="http://schemas.openxmlformats.org/officeDocument/2006/relationships/slideLayout" Target="../slideLayouts/slideLayout144.xml"/><Relationship Id="rId8" Type="http://schemas.openxmlformats.org/officeDocument/2006/relationships/slideLayout" Target="../slideLayouts/slideLayout104.xml"/><Relationship Id="rId51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26" Type="http://schemas.openxmlformats.org/officeDocument/2006/relationships/slideLayout" Target="../slideLayouts/slideLayout171.xml"/><Relationship Id="rId39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66.xml"/><Relationship Id="rId34" Type="http://schemas.openxmlformats.org/officeDocument/2006/relationships/slideLayout" Target="../slideLayouts/slideLayout179.xml"/><Relationship Id="rId42" Type="http://schemas.openxmlformats.org/officeDocument/2006/relationships/slideLayout" Target="../slideLayouts/slideLayout187.xml"/><Relationship Id="rId47" Type="http://schemas.openxmlformats.org/officeDocument/2006/relationships/slideLayout" Target="../slideLayouts/slideLayout192.xml"/><Relationship Id="rId50" Type="http://schemas.openxmlformats.org/officeDocument/2006/relationships/theme" Target="../theme/theme4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slideLayout" Target="../slideLayouts/slideLayout170.xml"/><Relationship Id="rId33" Type="http://schemas.openxmlformats.org/officeDocument/2006/relationships/slideLayout" Target="../slideLayouts/slideLayout178.xml"/><Relationship Id="rId38" Type="http://schemas.openxmlformats.org/officeDocument/2006/relationships/slideLayout" Target="../slideLayouts/slideLayout183.xml"/><Relationship Id="rId46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74.xml"/><Relationship Id="rId41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24" Type="http://schemas.openxmlformats.org/officeDocument/2006/relationships/slideLayout" Target="../slideLayouts/slideLayout169.xml"/><Relationship Id="rId32" Type="http://schemas.openxmlformats.org/officeDocument/2006/relationships/slideLayout" Target="../slideLayouts/slideLayout177.xml"/><Relationship Id="rId37" Type="http://schemas.openxmlformats.org/officeDocument/2006/relationships/slideLayout" Target="../slideLayouts/slideLayout182.xml"/><Relationship Id="rId40" Type="http://schemas.openxmlformats.org/officeDocument/2006/relationships/slideLayout" Target="../slideLayouts/slideLayout185.xml"/><Relationship Id="rId45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8.xml"/><Relationship Id="rId28" Type="http://schemas.openxmlformats.org/officeDocument/2006/relationships/slideLayout" Target="../slideLayouts/slideLayout173.xml"/><Relationship Id="rId36" Type="http://schemas.openxmlformats.org/officeDocument/2006/relationships/slideLayout" Target="../slideLayouts/slideLayout181.xml"/><Relationship Id="rId49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55.xml"/><Relationship Id="rId19" Type="http://schemas.openxmlformats.org/officeDocument/2006/relationships/slideLayout" Target="../slideLayouts/slideLayout164.xml"/><Relationship Id="rId31" Type="http://schemas.openxmlformats.org/officeDocument/2006/relationships/slideLayout" Target="../slideLayouts/slideLayout176.xml"/><Relationship Id="rId44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slideLayout" Target="../slideLayouts/slideLayout172.xml"/><Relationship Id="rId30" Type="http://schemas.openxmlformats.org/officeDocument/2006/relationships/slideLayout" Target="../slideLayouts/slideLayout175.xml"/><Relationship Id="rId35" Type="http://schemas.openxmlformats.org/officeDocument/2006/relationships/slideLayout" Target="../slideLayouts/slideLayout180.xml"/><Relationship Id="rId43" Type="http://schemas.openxmlformats.org/officeDocument/2006/relationships/slideLayout" Target="../slideLayouts/slideLayout188.xml"/><Relationship Id="rId48" Type="http://schemas.openxmlformats.org/officeDocument/2006/relationships/slideLayout" Target="../slideLayouts/slideLayout193.xml"/><Relationship Id="rId8" Type="http://schemas.openxmlformats.org/officeDocument/2006/relationships/slideLayout" Target="../slideLayouts/slideLayout153.xml"/><Relationship Id="rId51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7.xml"/><Relationship Id="rId18" Type="http://schemas.openxmlformats.org/officeDocument/2006/relationships/slideLayout" Target="../slideLayouts/slideLayout212.xml"/><Relationship Id="rId26" Type="http://schemas.openxmlformats.org/officeDocument/2006/relationships/slideLayout" Target="../slideLayouts/slideLayout220.xml"/><Relationship Id="rId39" Type="http://schemas.openxmlformats.org/officeDocument/2006/relationships/slideLayout" Target="../slideLayouts/slideLayout233.xml"/><Relationship Id="rId3" Type="http://schemas.openxmlformats.org/officeDocument/2006/relationships/slideLayout" Target="../slideLayouts/slideLayout197.xml"/><Relationship Id="rId21" Type="http://schemas.openxmlformats.org/officeDocument/2006/relationships/slideLayout" Target="../slideLayouts/slideLayout215.xml"/><Relationship Id="rId34" Type="http://schemas.openxmlformats.org/officeDocument/2006/relationships/slideLayout" Target="../slideLayouts/slideLayout228.xml"/><Relationship Id="rId42" Type="http://schemas.openxmlformats.org/officeDocument/2006/relationships/slideLayout" Target="../slideLayouts/slideLayout236.xml"/><Relationship Id="rId47" Type="http://schemas.openxmlformats.org/officeDocument/2006/relationships/slideLayout" Target="../slideLayouts/slideLayout241.xml"/><Relationship Id="rId50" Type="http://schemas.openxmlformats.org/officeDocument/2006/relationships/theme" Target="../theme/theme5.xml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17" Type="http://schemas.openxmlformats.org/officeDocument/2006/relationships/slideLayout" Target="../slideLayouts/slideLayout211.xml"/><Relationship Id="rId25" Type="http://schemas.openxmlformats.org/officeDocument/2006/relationships/slideLayout" Target="../slideLayouts/slideLayout219.xml"/><Relationship Id="rId33" Type="http://schemas.openxmlformats.org/officeDocument/2006/relationships/slideLayout" Target="../slideLayouts/slideLayout227.xml"/><Relationship Id="rId38" Type="http://schemas.openxmlformats.org/officeDocument/2006/relationships/slideLayout" Target="../slideLayouts/slideLayout232.xml"/><Relationship Id="rId46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196.xml"/><Relationship Id="rId16" Type="http://schemas.openxmlformats.org/officeDocument/2006/relationships/slideLayout" Target="../slideLayouts/slideLayout210.xml"/><Relationship Id="rId20" Type="http://schemas.openxmlformats.org/officeDocument/2006/relationships/slideLayout" Target="../slideLayouts/slideLayout214.xml"/><Relationship Id="rId29" Type="http://schemas.openxmlformats.org/officeDocument/2006/relationships/slideLayout" Target="../slideLayouts/slideLayout223.xml"/><Relationship Id="rId41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24" Type="http://schemas.openxmlformats.org/officeDocument/2006/relationships/slideLayout" Target="../slideLayouts/slideLayout218.xml"/><Relationship Id="rId32" Type="http://schemas.openxmlformats.org/officeDocument/2006/relationships/slideLayout" Target="../slideLayouts/slideLayout226.xml"/><Relationship Id="rId37" Type="http://schemas.openxmlformats.org/officeDocument/2006/relationships/slideLayout" Target="../slideLayouts/slideLayout231.xml"/><Relationship Id="rId40" Type="http://schemas.openxmlformats.org/officeDocument/2006/relationships/slideLayout" Target="../slideLayouts/slideLayout234.xml"/><Relationship Id="rId45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9.xml"/><Relationship Id="rId23" Type="http://schemas.openxmlformats.org/officeDocument/2006/relationships/slideLayout" Target="../slideLayouts/slideLayout217.xml"/><Relationship Id="rId28" Type="http://schemas.openxmlformats.org/officeDocument/2006/relationships/slideLayout" Target="../slideLayouts/slideLayout222.xml"/><Relationship Id="rId36" Type="http://schemas.openxmlformats.org/officeDocument/2006/relationships/slideLayout" Target="../slideLayouts/slideLayout230.xml"/><Relationship Id="rId49" Type="http://schemas.openxmlformats.org/officeDocument/2006/relationships/slideLayout" Target="../slideLayouts/slideLayout243.xml"/><Relationship Id="rId10" Type="http://schemas.openxmlformats.org/officeDocument/2006/relationships/slideLayout" Target="../slideLayouts/slideLayout204.xml"/><Relationship Id="rId19" Type="http://schemas.openxmlformats.org/officeDocument/2006/relationships/slideLayout" Target="../slideLayouts/slideLayout213.xml"/><Relationship Id="rId31" Type="http://schemas.openxmlformats.org/officeDocument/2006/relationships/slideLayout" Target="../slideLayouts/slideLayout225.xml"/><Relationship Id="rId44" Type="http://schemas.openxmlformats.org/officeDocument/2006/relationships/slideLayout" Target="../slideLayouts/slideLayout238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slideLayout" Target="../slideLayouts/slideLayout208.xml"/><Relationship Id="rId22" Type="http://schemas.openxmlformats.org/officeDocument/2006/relationships/slideLayout" Target="../slideLayouts/slideLayout216.xml"/><Relationship Id="rId27" Type="http://schemas.openxmlformats.org/officeDocument/2006/relationships/slideLayout" Target="../slideLayouts/slideLayout221.xml"/><Relationship Id="rId30" Type="http://schemas.openxmlformats.org/officeDocument/2006/relationships/slideLayout" Target="../slideLayouts/slideLayout224.xml"/><Relationship Id="rId35" Type="http://schemas.openxmlformats.org/officeDocument/2006/relationships/slideLayout" Target="../slideLayouts/slideLayout229.xml"/><Relationship Id="rId43" Type="http://schemas.openxmlformats.org/officeDocument/2006/relationships/slideLayout" Target="../slideLayouts/slideLayout237.xml"/><Relationship Id="rId48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202.xml"/><Relationship Id="rId51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B90DB8D-0673-781E-BCA9-62E8C9D50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CEAF0-FDF5-A52A-70B7-2DA6AE7B3F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8" y="1378800"/>
            <a:ext cx="11615736" cy="490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3722F9-A0D3-7C43-62B5-80960AF386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8000" y="6450420"/>
            <a:ext cx="66564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987E40-E517-6727-C893-BA09ADB46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9199" y="6450420"/>
            <a:ext cx="540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</a:defRPr>
            </a:lvl1pPr>
          </a:lstStyle>
          <a:p>
            <a:fld id="{FE7AB497-50C5-4280-A7A7-08AB69DCA739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251E36B-DCFE-24C9-8E47-8C69412F6AFF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9987" y="6421753"/>
            <a:ext cx="1155600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310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000" b="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4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000" b="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4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B90DB8D-0673-781E-BCA9-62E8C9D50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CEAF0-FDF5-A52A-70B7-2DA6AE7B3F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8" y="1378800"/>
            <a:ext cx="11615736" cy="490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3722F9-A0D3-7C43-62B5-80960AF386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8000" y="6450420"/>
            <a:ext cx="66564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987E40-E517-6727-C893-BA09ADB46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9199" y="6450420"/>
            <a:ext cx="540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</a:defRPr>
            </a:lvl1pPr>
          </a:lstStyle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251E36B-DCFE-24C9-8E47-8C69412F6AFF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9987" y="6421753"/>
            <a:ext cx="1155600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595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745" r:id="rId36"/>
    <p:sldLayoutId id="2147483746" r:id="rId37"/>
    <p:sldLayoutId id="2147483747" r:id="rId38"/>
    <p:sldLayoutId id="2147483748" r:id="rId39"/>
    <p:sldLayoutId id="2147483749" r:id="rId40"/>
    <p:sldLayoutId id="2147483750" r:id="rId41"/>
    <p:sldLayoutId id="2147483751" r:id="rId42"/>
    <p:sldLayoutId id="2147483752" r:id="rId43"/>
    <p:sldLayoutId id="2147483753" r:id="rId44"/>
    <p:sldLayoutId id="2147483754" r:id="rId45"/>
    <p:sldLayoutId id="2147483755" r:id="rId46"/>
    <p:sldLayoutId id="2147483756" r:id="rId47"/>
    <p:sldLayoutId id="2147483757" r:id="rId48"/>
    <p:sldLayoutId id="2147483758" r:id="rId4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000" b="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4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000" b="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4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B90DB8D-0673-781E-BCA9-62E8C9D50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CEAF0-FDF5-A52A-70B7-2DA6AE7B3F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8" y="1378800"/>
            <a:ext cx="11615736" cy="490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3722F9-A0D3-7C43-62B5-80960AF386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8000" y="6450420"/>
            <a:ext cx="66564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987E40-E517-6727-C893-BA09ADB46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9199" y="6450420"/>
            <a:ext cx="540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</a:defRPr>
            </a:lvl1pPr>
          </a:lstStyle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251E36B-DCFE-24C9-8E47-8C69412F6AFF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9987" y="6421753"/>
            <a:ext cx="1155600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039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  <p:sldLayoutId id="2147483792" r:id="rId33"/>
    <p:sldLayoutId id="2147483793" r:id="rId34"/>
    <p:sldLayoutId id="2147483794" r:id="rId35"/>
    <p:sldLayoutId id="2147483795" r:id="rId36"/>
    <p:sldLayoutId id="2147483796" r:id="rId37"/>
    <p:sldLayoutId id="2147483797" r:id="rId38"/>
    <p:sldLayoutId id="2147483798" r:id="rId39"/>
    <p:sldLayoutId id="2147483799" r:id="rId40"/>
    <p:sldLayoutId id="2147483800" r:id="rId41"/>
    <p:sldLayoutId id="2147483801" r:id="rId42"/>
    <p:sldLayoutId id="2147483802" r:id="rId43"/>
    <p:sldLayoutId id="2147483803" r:id="rId44"/>
    <p:sldLayoutId id="2147483804" r:id="rId45"/>
    <p:sldLayoutId id="2147483805" r:id="rId46"/>
    <p:sldLayoutId id="2147483806" r:id="rId47"/>
    <p:sldLayoutId id="2147483807" r:id="rId48"/>
    <p:sldLayoutId id="2147483808" r:id="rId4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000" b="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4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000" b="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4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B90DB8D-0673-781E-BCA9-62E8C9D50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CEAF0-FDF5-A52A-70B7-2DA6AE7B3F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8" y="1378800"/>
            <a:ext cx="11615736" cy="490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3722F9-A0D3-7C43-62B5-80960AF386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8000" y="6450420"/>
            <a:ext cx="66564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987E40-E517-6727-C893-BA09ADB46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9199" y="6450420"/>
            <a:ext cx="540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</a:defRPr>
            </a:lvl1pPr>
          </a:lstStyle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251E36B-DCFE-24C9-8E47-8C69412F6AFF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9987" y="6421753"/>
            <a:ext cx="1155600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253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  <p:sldLayoutId id="2147483834" r:id="rId25"/>
    <p:sldLayoutId id="2147483835" r:id="rId26"/>
    <p:sldLayoutId id="2147483836" r:id="rId27"/>
    <p:sldLayoutId id="2147483837" r:id="rId28"/>
    <p:sldLayoutId id="2147483838" r:id="rId29"/>
    <p:sldLayoutId id="2147483839" r:id="rId30"/>
    <p:sldLayoutId id="2147483840" r:id="rId31"/>
    <p:sldLayoutId id="2147483841" r:id="rId32"/>
    <p:sldLayoutId id="2147483842" r:id="rId33"/>
    <p:sldLayoutId id="2147483843" r:id="rId34"/>
    <p:sldLayoutId id="2147483844" r:id="rId35"/>
    <p:sldLayoutId id="2147483845" r:id="rId36"/>
    <p:sldLayoutId id="2147483846" r:id="rId37"/>
    <p:sldLayoutId id="2147483847" r:id="rId38"/>
    <p:sldLayoutId id="2147483848" r:id="rId39"/>
    <p:sldLayoutId id="2147483849" r:id="rId40"/>
    <p:sldLayoutId id="2147483850" r:id="rId41"/>
    <p:sldLayoutId id="2147483851" r:id="rId42"/>
    <p:sldLayoutId id="2147483852" r:id="rId43"/>
    <p:sldLayoutId id="2147483853" r:id="rId44"/>
    <p:sldLayoutId id="2147483854" r:id="rId45"/>
    <p:sldLayoutId id="2147483855" r:id="rId46"/>
    <p:sldLayoutId id="2147483856" r:id="rId47"/>
    <p:sldLayoutId id="2147483857" r:id="rId48"/>
    <p:sldLayoutId id="2147483858" r:id="rId4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000" b="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4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000" b="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4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B90DB8D-0673-781E-BCA9-62E8C9D50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7" y="272485"/>
            <a:ext cx="11615737" cy="61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CEAF0-FDF5-A52A-70B7-2DA6AE7B3F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8" y="1378800"/>
            <a:ext cx="11615736" cy="490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3722F9-A0D3-7C43-62B5-80960AF386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8000" y="6450420"/>
            <a:ext cx="66564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987E40-E517-6727-C893-BA09ADB46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9199" y="6450420"/>
            <a:ext cx="540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</a:defRPr>
            </a:lvl1pPr>
          </a:lstStyle>
          <a:p>
            <a:fld id="{9A0F3412-00EB-454F-952B-1EB5D3D6930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251E36B-DCFE-24C9-8E47-8C69412F6AFF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9987" y="6421753"/>
            <a:ext cx="1155600" cy="15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875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  <p:sldLayoutId id="2147483876" r:id="rId17"/>
    <p:sldLayoutId id="2147483877" r:id="rId18"/>
    <p:sldLayoutId id="2147483878" r:id="rId19"/>
    <p:sldLayoutId id="2147483879" r:id="rId20"/>
    <p:sldLayoutId id="2147483880" r:id="rId21"/>
    <p:sldLayoutId id="2147483881" r:id="rId22"/>
    <p:sldLayoutId id="2147483882" r:id="rId23"/>
    <p:sldLayoutId id="2147483883" r:id="rId24"/>
    <p:sldLayoutId id="2147483884" r:id="rId25"/>
    <p:sldLayoutId id="2147483885" r:id="rId26"/>
    <p:sldLayoutId id="2147483886" r:id="rId27"/>
    <p:sldLayoutId id="2147483887" r:id="rId28"/>
    <p:sldLayoutId id="2147483888" r:id="rId29"/>
    <p:sldLayoutId id="2147483889" r:id="rId30"/>
    <p:sldLayoutId id="2147483890" r:id="rId31"/>
    <p:sldLayoutId id="2147483891" r:id="rId32"/>
    <p:sldLayoutId id="2147483892" r:id="rId33"/>
    <p:sldLayoutId id="2147483893" r:id="rId34"/>
    <p:sldLayoutId id="2147483894" r:id="rId35"/>
    <p:sldLayoutId id="2147483895" r:id="rId36"/>
    <p:sldLayoutId id="2147483896" r:id="rId37"/>
    <p:sldLayoutId id="2147483897" r:id="rId38"/>
    <p:sldLayoutId id="2147483898" r:id="rId39"/>
    <p:sldLayoutId id="2147483899" r:id="rId40"/>
    <p:sldLayoutId id="2147483900" r:id="rId41"/>
    <p:sldLayoutId id="2147483901" r:id="rId42"/>
    <p:sldLayoutId id="2147483902" r:id="rId43"/>
    <p:sldLayoutId id="2147483903" r:id="rId44"/>
    <p:sldLayoutId id="2147483904" r:id="rId45"/>
    <p:sldLayoutId id="2147483905" r:id="rId46"/>
    <p:sldLayoutId id="2147483906" r:id="rId47"/>
    <p:sldLayoutId id="2147483907" r:id="rId48"/>
    <p:sldLayoutId id="2147483908" r:id="rId4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000" b="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4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3000" b="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None/>
        <a:defRPr sz="4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30.svg"/><Relationship Id="rId9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10.xml"/><Relationship Id="rId18" Type="http://schemas.openxmlformats.org/officeDocument/2006/relationships/image" Target="../media/image40.png"/><Relationship Id="rId3" Type="http://schemas.openxmlformats.org/officeDocument/2006/relationships/tags" Target="../tags/tag4.xml"/><Relationship Id="rId21" Type="http://schemas.openxmlformats.org/officeDocument/2006/relationships/image" Target="../media/image43.svg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39.svg"/><Relationship Id="rId25" Type="http://schemas.openxmlformats.org/officeDocument/2006/relationships/image" Target="../media/image47.svg"/><Relationship Id="rId2" Type="http://schemas.openxmlformats.org/officeDocument/2006/relationships/tags" Target="../tags/tag3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image" Target="../media/image46.png"/><Relationship Id="rId5" Type="http://schemas.openxmlformats.org/officeDocument/2006/relationships/tags" Target="../tags/tag6.xml"/><Relationship Id="rId15" Type="http://schemas.openxmlformats.org/officeDocument/2006/relationships/image" Target="../media/image37.emf"/><Relationship Id="rId23" Type="http://schemas.openxmlformats.org/officeDocument/2006/relationships/image" Target="../media/image45.svg"/><Relationship Id="rId10" Type="http://schemas.openxmlformats.org/officeDocument/2006/relationships/tags" Target="../tags/tag11.xml"/><Relationship Id="rId19" Type="http://schemas.openxmlformats.org/officeDocument/2006/relationships/image" Target="../media/image41.sv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oleObject" Target="../embeddings/oleObject1.bin"/><Relationship Id="rId22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Relationship Id="rId4" Type="http://schemas.openxmlformats.org/officeDocument/2006/relationships/chart" Target="../charts/char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erson looking at his watch&#10;&#10;AI-generated content may be incorrect.">
            <a:extLst>
              <a:ext uri="{FF2B5EF4-FFF2-40B4-BE49-F238E27FC236}">
                <a16:creationId xmlns:a16="http://schemas.microsoft.com/office/drawing/2014/main" id="{96F045CC-1C66-DDB1-4EF3-7B920B469A3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C21B497-D9AE-DA93-540E-04E56D5BC8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2800" b="1" dirty="0"/>
              <a:t>Vivir </a:t>
            </a:r>
            <a:r>
              <a:rPr lang="en-GB" sz="2800" b="1" dirty="0" err="1"/>
              <a:t>más</a:t>
            </a:r>
            <a:r>
              <a:rPr lang="en-GB" sz="2800" b="1" dirty="0"/>
              <a:t>, </a:t>
            </a:r>
            <a:r>
              <a:rPr lang="en-GB" sz="2800" b="1" dirty="0" err="1"/>
              <a:t>Asegurar</a:t>
            </a:r>
            <a:r>
              <a:rPr lang="en-GB" sz="2800" b="1" dirty="0"/>
              <a:t> </a:t>
            </a:r>
            <a:r>
              <a:rPr lang="en-GB" sz="2800" b="1" dirty="0" err="1"/>
              <a:t>mejor</a:t>
            </a:r>
            <a:br>
              <a:rPr lang="en-GB" dirty="0"/>
            </a:br>
            <a:r>
              <a:rPr lang="en-GB" dirty="0"/>
              <a:t>El </a:t>
            </a:r>
            <a:r>
              <a:rPr lang="en-GB" dirty="0" err="1"/>
              <a:t>reto</a:t>
            </a:r>
            <a:r>
              <a:rPr lang="en-GB" dirty="0"/>
              <a:t> de la </a:t>
            </a:r>
            <a:r>
              <a:rPr lang="en-GB" dirty="0" err="1"/>
              <a:t>Longevidad</a:t>
            </a:r>
            <a:r>
              <a:rPr lang="en-GB" dirty="0"/>
              <a:t> 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8B46C93E-3326-A1D4-66EA-465AFD461C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620" y="3262836"/>
            <a:ext cx="5310000" cy="1800000"/>
          </a:xfrm>
        </p:spPr>
        <p:txBody>
          <a:bodyPr/>
          <a:lstStyle/>
          <a:p>
            <a:endParaRPr lang="en-GB" sz="1600" dirty="0"/>
          </a:p>
          <a:p>
            <a:r>
              <a:rPr lang="en-GB" sz="1600" dirty="0" err="1"/>
              <a:t>Evento</a:t>
            </a:r>
            <a:r>
              <a:rPr lang="en-GB" sz="1600" dirty="0"/>
              <a:t> Grupo LARG</a:t>
            </a:r>
          </a:p>
          <a:p>
            <a:endParaRPr lang="en-GB" b="0" dirty="0"/>
          </a:p>
          <a:p>
            <a:r>
              <a:rPr lang="en-GB" b="0" dirty="0"/>
              <a:t>Bryan Urbano</a:t>
            </a:r>
          </a:p>
          <a:p>
            <a:r>
              <a:rPr lang="en-GB" b="0" dirty="0" err="1"/>
              <a:t>Septiembre</a:t>
            </a:r>
            <a:r>
              <a:rPr lang="en-GB" b="0" dirty="0"/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2019230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661B04-47B1-410B-79CA-74F84CC91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Panoram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240E748-BA10-3644-7F19-96463E93BE82}"/>
              </a:ext>
            </a:extLst>
          </p:cNvPr>
          <p:cNvGrpSpPr/>
          <p:nvPr/>
        </p:nvGrpSpPr>
        <p:grpSpPr>
          <a:xfrm>
            <a:off x="1248406" y="1719073"/>
            <a:ext cx="4015255" cy="2564892"/>
            <a:chOff x="6944400" y="4197600"/>
            <a:chExt cx="2426880" cy="1709928"/>
          </a:xfrm>
        </p:grpSpPr>
        <p:cxnSp>
          <p:nvCxnSpPr>
            <p:cNvPr id="5" name="Gerade Verbindung 6">
              <a:extLst>
                <a:ext uri="{FF2B5EF4-FFF2-40B4-BE49-F238E27FC236}">
                  <a16:creationId xmlns:a16="http://schemas.microsoft.com/office/drawing/2014/main" id="{81E1EACF-A246-8557-07C3-CB685FAA803D}"/>
                </a:ext>
              </a:extLst>
            </p:cNvPr>
            <p:cNvCxnSpPr>
              <a:cxnSpLocks/>
            </p:cNvCxnSpPr>
            <p:nvPr/>
          </p:nvCxnSpPr>
          <p:spPr>
            <a:xfrm>
              <a:off x="8615280" y="4503336"/>
              <a:ext cx="756000" cy="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F70FF22-C545-8E34-DBC8-F3A79216C890}"/>
                </a:ext>
              </a:extLst>
            </p:cNvPr>
            <p:cNvSpPr txBox="1"/>
            <p:nvPr/>
          </p:nvSpPr>
          <p:spPr>
            <a:xfrm>
              <a:off x="6944400" y="4197600"/>
              <a:ext cx="1710000" cy="1709928"/>
            </a:xfrm>
            <a:custGeom>
              <a:avLst/>
              <a:gdLst>
                <a:gd name="connsiteX0" fmla="*/ 270750 w 1710000"/>
                <a:gd name="connsiteY0" fmla="*/ 0 h 1709928"/>
                <a:gd name="connsiteX1" fmla="*/ 1439250 w 1710000"/>
                <a:gd name="connsiteY1" fmla="*/ 0 h 1709928"/>
                <a:gd name="connsiteX2" fmla="*/ 1710000 w 1710000"/>
                <a:gd name="connsiteY2" fmla="*/ 270256 h 1709928"/>
                <a:gd name="connsiteX3" fmla="*/ 1710000 w 1710000"/>
                <a:gd name="connsiteY3" fmla="*/ 1439672 h 1709928"/>
                <a:gd name="connsiteX4" fmla="*/ 1439250 w 1710000"/>
                <a:gd name="connsiteY4" fmla="*/ 1709928 h 1709928"/>
                <a:gd name="connsiteX5" fmla="*/ 270750 w 1710000"/>
                <a:gd name="connsiteY5" fmla="*/ 1709928 h 1709928"/>
                <a:gd name="connsiteX6" fmla="*/ 0 w 1710000"/>
                <a:gd name="connsiteY6" fmla="*/ 1439672 h 1709928"/>
                <a:gd name="connsiteX7" fmla="*/ 0 w 1710000"/>
                <a:gd name="connsiteY7" fmla="*/ 270256 h 1709928"/>
                <a:gd name="connsiteX8" fmla="*/ 270750 w 1710000"/>
                <a:gd name="connsiteY8" fmla="*/ 0 h 170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0000" h="1709928">
                  <a:moveTo>
                    <a:pt x="270750" y="0"/>
                  </a:moveTo>
                  <a:lnTo>
                    <a:pt x="1439250" y="0"/>
                  </a:lnTo>
                  <a:cubicBezTo>
                    <a:pt x="1588748" y="0"/>
                    <a:pt x="1710000" y="121031"/>
                    <a:pt x="1710000" y="270256"/>
                  </a:cubicBezTo>
                  <a:lnTo>
                    <a:pt x="1710000" y="1439672"/>
                  </a:lnTo>
                  <a:cubicBezTo>
                    <a:pt x="1710000" y="1588897"/>
                    <a:pt x="1588748" y="1709928"/>
                    <a:pt x="1439250" y="1709928"/>
                  </a:cubicBezTo>
                  <a:lnTo>
                    <a:pt x="270750" y="1709928"/>
                  </a:lnTo>
                  <a:cubicBezTo>
                    <a:pt x="121252" y="1709928"/>
                    <a:pt x="0" y="1588897"/>
                    <a:pt x="0" y="1439672"/>
                  </a:cubicBezTo>
                  <a:lnTo>
                    <a:pt x="0" y="270256"/>
                  </a:lnTo>
                  <a:cubicBezTo>
                    <a:pt x="0" y="121031"/>
                    <a:pt x="121252" y="0"/>
                    <a:pt x="270750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144000" tIns="144000" rIns="144000" bIns="144000" rtlCol="0" anchor="ctr" anchorCtr="0">
              <a:noAutofit/>
            </a:bodyPr>
            <a:lstStyle/>
            <a:p>
              <a:pPr lvl="6"/>
              <a:r>
                <a:rPr lang="en-GB" sz="3600" b="1" dirty="0">
                  <a:solidFill>
                    <a:schemeClr val="bg1"/>
                  </a:solidFill>
                </a:rPr>
                <a:t>18%</a:t>
              </a:r>
            </a:p>
            <a:p>
              <a:pPr lvl="4"/>
              <a:r>
                <a:rPr lang="en-GB" sz="2400" b="0" dirty="0">
                  <a:solidFill>
                    <a:schemeClr val="bg1"/>
                  </a:solidFill>
                </a:rPr>
                <a:t>Personas </a:t>
              </a:r>
              <a:r>
                <a:rPr lang="en-GB" sz="2400" b="0" dirty="0" err="1">
                  <a:solidFill>
                    <a:schemeClr val="bg1"/>
                  </a:solidFill>
                </a:rPr>
                <a:t>mayores</a:t>
              </a:r>
              <a:r>
                <a:rPr lang="en-GB" sz="2400" b="0" dirty="0">
                  <a:solidFill>
                    <a:schemeClr val="bg1"/>
                  </a:solidFill>
                </a:rPr>
                <a:t> de 65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C831CED-D960-941A-7405-BC105C346D61}"/>
              </a:ext>
            </a:extLst>
          </p:cNvPr>
          <p:cNvGrpSpPr/>
          <p:nvPr/>
        </p:nvGrpSpPr>
        <p:grpSpPr>
          <a:xfrm>
            <a:off x="5148215" y="2947774"/>
            <a:ext cx="4746060" cy="3006149"/>
            <a:chOff x="9163123" y="1378800"/>
            <a:chExt cx="2743071" cy="1709928"/>
          </a:xfrm>
        </p:grpSpPr>
        <p:cxnSp>
          <p:nvCxnSpPr>
            <p:cNvPr id="8" name="Gerade Verbindung 6">
              <a:extLst>
                <a:ext uri="{FF2B5EF4-FFF2-40B4-BE49-F238E27FC236}">
                  <a16:creationId xmlns:a16="http://schemas.microsoft.com/office/drawing/2014/main" id="{F74C7F9B-643D-28E7-9B3F-F52BBD850B54}"/>
                </a:ext>
              </a:extLst>
            </p:cNvPr>
            <p:cNvCxnSpPr>
              <a:cxnSpLocks/>
            </p:cNvCxnSpPr>
            <p:nvPr/>
          </p:nvCxnSpPr>
          <p:spPr>
            <a:xfrm>
              <a:off x="9163123" y="1684800"/>
              <a:ext cx="1069071" cy="0"/>
            </a:xfrm>
            <a:prstGeom prst="line">
              <a:avLst/>
            </a:prstGeom>
            <a:ln w="254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7C1417B-94B5-380E-CC20-E2DAACBF4ABA}"/>
                </a:ext>
              </a:extLst>
            </p:cNvPr>
            <p:cNvSpPr txBox="1"/>
            <p:nvPr/>
          </p:nvSpPr>
          <p:spPr>
            <a:xfrm>
              <a:off x="10196194" y="1378800"/>
              <a:ext cx="1710000" cy="1709928"/>
            </a:xfrm>
            <a:custGeom>
              <a:avLst/>
              <a:gdLst>
                <a:gd name="connsiteX0" fmla="*/ 270750 w 1710000"/>
                <a:gd name="connsiteY0" fmla="*/ 0 h 1709928"/>
                <a:gd name="connsiteX1" fmla="*/ 1439250 w 1710000"/>
                <a:gd name="connsiteY1" fmla="*/ 0 h 1709928"/>
                <a:gd name="connsiteX2" fmla="*/ 1710000 w 1710000"/>
                <a:gd name="connsiteY2" fmla="*/ 270256 h 1709928"/>
                <a:gd name="connsiteX3" fmla="*/ 1710000 w 1710000"/>
                <a:gd name="connsiteY3" fmla="*/ 1439672 h 1709928"/>
                <a:gd name="connsiteX4" fmla="*/ 1439250 w 1710000"/>
                <a:gd name="connsiteY4" fmla="*/ 1709928 h 1709928"/>
                <a:gd name="connsiteX5" fmla="*/ 270750 w 1710000"/>
                <a:gd name="connsiteY5" fmla="*/ 1709928 h 1709928"/>
                <a:gd name="connsiteX6" fmla="*/ 0 w 1710000"/>
                <a:gd name="connsiteY6" fmla="*/ 1439672 h 1709928"/>
                <a:gd name="connsiteX7" fmla="*/ 0 w 1710000"/>
                <a:gd name="connsiteY7" fmla="*/ 270256 h 1709928"/>
                <a:gd name="connsiteX8" fmla="*/ 270750 w 1710000"/>
                <a:gd name="connsiteY8" fmla="*/ 0 h 170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0000" h="1709928">
                  <a:moveTo>
                    <a:pt x="270750" y="0"/>
                  </a:moveTo>
                  <a:lnTo>
                    <a:pt x="1439250" y="0"/>
                  </a:lnTo>
                  <a:cubicBezTo>
                    <a:pt x="1588748" y="0"/>
                    <a:pt x="1710000" y="121031"/>
                    <a:pt x="1710000" y="270256"/>
                  </a:cubicBezTo>
                  <a:lnTo>
                    <a:pt x="1710000" y="1439672"/>
                  </a:lnTo>
                  <a:cubicBezTo>
                    <a:pt x="1710000" y="1588897"/>
                    <a:pt x="1588748" y="1709928"/>
                    <a:pt x="1439250" y="1709928"/>
                  </a:cubicBezTo>
                  <a:lnTo>
                    <a:pt x="270750" y="1709928"/>
                  </a:lnTo>
                  <a:cubicBezTo>
                    <a:pt x="121252" y="1709928"/>
                    <a:pt x="0" y="1588897"/>
                    <a:pt x="0" y="1439672"/>
                  </a:cubicBezTo>
                  <a:lnTo>
                    <a:pt x="0" y="270256"/>
                  </a:lnTo>
                  <a:cubicBezTo>
                    <a:pt x="0" y="121031"/>
                    <a:pt x="121252" y="0"/>
                    <a:pt x="270750" y="0"/>
                  </a:cubicBezTo>
                  <a:close/>
                </a:path>
              </a:pathLst>
            </a:custGeom>
            <a:solidFill>
              <a:schemeClr val="bg2"/>
            </a:solidFill>
          </p:spPr>
          <p:txBody>
            <a:bodyPr wrap="square" lIns="144000" tIns="144000" rIns="144000" bIns="144000" rtlCol="0" anchor="ctr" anchorCtr="0">
              <a:noAutofit/>
            </a:bodyPr>
            <a:lstStyle/>
            <a:p>
              <a:pPr lvl="6"/>
              <a:r>
                <a:rPr lang="en-GB" sz="4400" dirty="0"/>
                <a:t>23%</a:t>
              </a:r>
            </a:p>
            <a:p>
              <a:pPr lvl="4"/>
              <a:r>
                <a:rPr lang="en-GB" sz="2400" b="0" dirty="0"/>
                <a:t>Personas </a:t>
              </a:r>
              <a:r>
                <a:rPr lang="en-GB" sz="2400" b="0" dirty="0" err="1"/>
                <a:t>mayores</a:t>
              </a:r>
              <a:r>
                <a:rPr lang="en-GB" sz="2400" b="0" dirty="0"/>
                <a:t> de 65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19090963-1B58-01C9-B875-F504E468D858}"/>
              </a:ext>
            </a:extLst>
          </p:cNvPr>
          <p:cNvSpPr txBox="1"/>
          <p:nvPr/>
        </p:nvSpPr>
        <p:spPr>
          <a:xfrm>
            <a:off x="4128309" y="1812323"/>
            <a:ext cx="1019907" cy="3324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800" dirty="0"/>
              <a:t>Ho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1AA269-3703-EF93-37F9-5639DE94F0BC}"/>
              </a:ext>
            </a:extLst>
          </p:cNvPr>
          <p:cNvSpPr txBox="1"/>
          <p:nvPr/>
        </p:nvSpPr>
        <p:spPr>
          <a:xfrm>
            <a:off x="5365892" y="3051759"/>
            <a:ext cx="1414351" cy="4339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800" dirty="0"/>
              <a:t>Para </a:t>
            </a:r>
            <a:r>
              <a:rPr lang="en-GB" sz="1800" dirty="0" err="1"/>
              <a:t>el</a:t>
            </a:r>
            <a:r>
              <a:rPr lang="en-GB" sz="1800" dirty="0"/>
              <a:t> 2054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4B080AB-D128-B872-3F9D-CC95A209CD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ource: Pew Reasearch Center, Katherine Schäffer</a:t>
            </a:r>
            <a:endParaRPr lang="en-GB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009EC33-8752-934B-7507-D051BDD29B0F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16" name="Group 4">
              <a:extLst>
                <a:ext uri="{FF2B5EF4-FFF2-40B4-BE49-F238E27FC236}">
                  <a16:creationId xmlns:a16="http://schemas.microsoft.com/office/drawing/2014/main" id="{A863859B-6654-7E68-40CE-9A93BFFACF5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2C3DF806-55F6-1F4D-CE11-CC1D7447D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6">
                <a:extLst>
                  <a:ext uri="{FF2B5EF4-FFF2-40B4-BE49-F238E27FC236}">
                    <a16:creationId xmlns:a16="http://schemas.microsoft.com/office/drawing/2014/main" id="{1E6DF9AF-8332-D720-D1B2-8A7A3A463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7">
                <a:extLst>
                  <a:ext uri="{FF2B5EF4-FFF2-40B4-BE49-F238E27FC236}">
                    <a16:creationId xmlns:a16="http://schemas.microsoft.com/office/drawing/2014/main" id="{EA7F1E87-4DB1-4315-DA8F-D9E0AA713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8">
                <a:extLst>
                  <a:ext uri="{FF2B5EF4-FFF2-40B4-BE49-F238E27FC236}">
                    <a16:creationId xmlns:a16="http://schemas.microsoft.com/office/drawing/2014/main" id="{7A8DD9EC-DB7D-D73D-87EF-F858DB902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9">
                <a:extLst>
                  <a:ext uri="{FF2B5EF4-FFF2-40B4-BE49-F238E27FC236}">
                    <a16:creationId xmlns:a16="http://schemas.microsoft.com/office/drawing/2014/main" id="{F434F5CB-A66A-986E-6491-1590DB5F31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20FAE47F-0657-8A54-A08E-0CCB080F0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4" name="Freeform 11">
                <a:extLst>
                  <a:ext uri="{FF2B5EF4-FFF2-40B4-BE49-F238E27FC236}">
                    <a16:creationId xmlns:a16="http://schemas.microsoft.com/office/drawing/2014/main" id="{1E29CC0A-8957-22C3-91AF-9380A86E30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F22A851F-C780-C974-323C-37A1065CE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6" name="Freeform 13">
                <a:extLst>
                  <a:ext uri="{FF2B5EF4-FFF2-40B4-BE49-F238E27FC236}">
                    <a16:creationId xmlns:a16="http://schemas.microsoft.com/office/drawing/2014/main" id="{75D2437C-C631-5A40-81B2-22D217B25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14">
                <a:extLst>
                  <a:ext uri="{FF2B5EF4-FFF2-40B4-BE49-F238E27FC236}">
                    <a16:creationId xmlns:a16="http://schemas.microsoft.com/office/drawing/2014/main" id="{83943ED3-FC58-E980-3087-32EEA25CA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8" name="Freeform 15">
                <a:extLst>
                  <a:ext uri="{FF2B5EF4-FFF2-40B4-BE49-F238E27FC236}">
                    <a16:creationId xmlns:a16="http://schemas.microsoft.com/office/drawing/2014/main" id="{63D2D443-1109-C540-D077-31E95E91C9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9" name="Freeform 16">
                <a:extLst>
                  <a:ext uri="{FF2B5EF4-FFF2-40B4-BE49-F238E27FC236}">
                    <a16:creationId xmlns:a16="http://schemas.microsoft.com/office/drawing/2014/main" id="{A0AB3FF4-3A26-0F93-1295-791F9A3E8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A24B901-F492-4915-EC0D-69AF721778F2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5337549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DADE2BD-A670-8575-CBE3-87921462066C}"/>
              </a:ext>
            </a:extLst>
          </p:cNvPr>
          <p:cNvGrpSpPr/>
          <p:nvPr/>
        </p:nvGrpSpPr>
        <p:grpSpPr>
          <a:xfrm>
            <a:off x="6229474" y="1302248"/>
            <a:ext cx="5673600" cy="4285025"/>
            <a:chOff x="6232527" y="1712556"/>
            <a:chExt cx="5673600" cy="4570768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524D5C8-CA2A-6849-712D-14132C7C9F1A}"/>
                </a:ext>
              </a:extLst>
            </p:cNvPr>
            <p:cNvSpPr txBox="1"/>
            <p:nvPr/>
          </p:nvSpPr>
          <p:spPr>
            <a:xfrm>
              <a:off x="6232527" y="1731599"/>
              <a:ext cx="5673600" cy="4551725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244800" tIns="550800" rIns="244800" bIns="244800" rtlCol="0">
              <a:noAutofit/>
            </a:bodyPr>
            <a:lstStyle/>
            <a:p>
              <a:pPr marL="0" lvl="1" indent="0">
                <a:buNone/>
              </a:pPr>
              <a:endParaRPr lang="en-GB" b="1" dirty="0">
                <a:solidFill>
                  <a:schemeClr val="bg1"/>
                </a:solidFill>
              </a:endParaRPr>
            </a:p>
            <a:p>
              <a:pPr marL="0" lvl="1" indent="0">
                <a:buNone/>
              </a:pPr>
              <a:endParaRPr lang="en-GB" b="1" dirty="0">
                <a:solidFill>
                  <a:schemeClr val="bg1"/>
                </a:solidFill>
              </a:endParaRPr>
            </a:p>
            <a:p>
              <a:pPr marL="0" lvl="1" indent="0">
                <a:buNone/>
              </a:pPr>
              <a:endParaRPr lang="en-GB" b="1" dirty="0">
                <a:solidFill>
                  <a:schemeClr val="bg1"/>
                </a:solidFill>
              </a:endParaRPr>
            </a:p>
            <a:p>
              <a:pPr marL="0" lvl="1" indent="0">
                <a:buNone/>
              </a:pPr>
              <a:endParaRPr lang="en-GB" b="1" dirty="0">
                <a:solidFill>
                  <a:schemeClr val="bg1"/>
                </a:solidFill>
              </a:endParaRPr>
            </a:p>
            <a:p>
              <a:pPr marL="0" lvl="1" indent="0">
                <a:buNone/>
              </a:pPr>
              <a:endParaRPr lang="en-GB" b="1" dirty="0">
                <a:solidFill>
                  <a:schemeClr val="bg1"/>
                </a:solidFill>
              </a:endParaRPr>
            </a:p>
            <a:p>
              <a:pPr marL="0" lvl="1" indent="0">
                <a:buNone/>
              </a:pPr>
              <a:endParaRPr lang="en-GB" b="1" dirty="0">
                <a:solidFill>
                  <a:schemeClr val="bg1"/>
                </a:solidFill>
              </a:endParaRPr>
            </a:p>
            <a:p>
              <a:pPr marL="0" lvl="1" indent="0">
                <a:buNone/>
              </a:pPr>
              <a:endParaRPr lang="en-GB" b="1" dirty="0">
                <a:solidFill>
                  <a:schemeClr val="bg1"/>
                </a:solidFill>
              </a:endParaRPr>
            </a:p>
            <a:p>
              <a:pPr marL="0" lvl="1" indent="0" algn="ctr">
                <a:buNone/>
              </a:pPr>
              <a:r>
                <a:rPr lang="en-GB" sz="3200" b="1" dirty="0">
                  <a:solidFill>
                    <a:schemeClr val="bg1"/>
                  </a:solidFill>
                </a:rPr>
                <a:t>63 </a:t>
              </a:r>
              <a:r>
                <a:rPr lang="en-GB" sz="3200" b="1" dirty="0" err="1">
                  <a:solidFill>
                    <a:schemeClr val="bg1"/>
                  </a:solidFill>
                </a:rPr>
                <a:t>años</a:t>
              </a:r>
              <a:endParaRPr lang="en-GB" sz="3200" b="1" dirty="0">
                <a:solidFill>
                  <a:schemeClr val="bg1"/>
                </a:solidFill>
              </a:endParaRPr>
            </a:p>
            <a:p>
              <a:pPr lvl="1"/>
              <a:endParaRPr lang="en-GB" dirty="0">
                <a:solidFill>
                  <a:schemeClr val="bg1"/>
                </a:solidFill>
              </a:endParaRPr>
            </a:p>
          </p:txBody>
        </p:sp>
        <p:grpSp>
          <p:nvGrpSpPr>
            <p:cNvPr id="44" name="Graphic 4">
              <a:extLst>
                <a:ext uri="{FF2B5EF4-FFF2-40B4-BE49-F238E27FC236}">
                  <a16:creationId xmlns:a16="http://schemas.microsoft.com/office/drawing/2014/main" id="{B033F537-3B15-E140-A350-5B49C4ABF159}"/>
                </a:ext>
              </a:extLst>
            </p:cNvPr>
            <p:cNvGrpSpPr/>
            <p:nvPr/>
          </p:nvGrpSpPr>
          <p:grpSpPr>
            <a:xfrm>
              <a:off x="6726810" y="1712556"/>
              <a:ext cx="3397471" cy="1335064"/>
              <a:chOff x="6726808" y="1847088"/>
              <a:chExt cx="3397471" cy="1335064"/>
            </a:xfrm>
          </p:grpSpPr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042EBEE4-9C74-FF2A-BFF4-2EF71153CF10}"/>
                  </a:ext>
                </a:extLst>
              </p:cNvPr>
              <p:cNvSpPr/>
              <p:nvPr/>
            </p:nvSpPr>
            <p:spPr>
              <a:xfrm>
                <a:off x="8014370" y="2217870"/>
                <a:ext cx="2109909" cy="964282"/>
              </a:xfrm>
              <a:custGeom>
                <a:avLst/>
                <a:gdLst>
                  <a:gd name="connsiteX0" fmla="*/ 0 w 707135"/>
                  <a:gd name="connsiteY0" fmla="*/ 186817 h 705611"/>
                  <a:gd name="connsiteX1" fmla="*/ 186817 w 707135"/>
                  <a:gd name="connsiteY1" fmla="*/ 0 h 705611"/>
                  <a:gd name="connsiteX2" fmla="*/ 520319 w 707135"/>
                  <a:gd name="connsiteY2" fmla="*/ 0 h 705611"/>
                  <a:gd name="connsiteX3" fmla="*/ 707136 w 707135"/>
                  <a:gd name="connsiteY3" fmla="*/ 186817 h 705611"/>
                  <a:gd name="connsiteX4" fmla="*/ 707136 w 707135"/>
                  <a:gd name="connsiteY4" fmla="*/ 518795 h 705611"/>
                  <a:gd name="connsiteX5" fmla="*/ 520319 w 707135"/>
                  <a:gd name="connsiteY5" fmla="*/ 705612 h 705611"/>
                  <a:gd name="connsiteX6" fmla="*/ 186817 w 707135"/>
                  <a:gd name="connsiteY6" fmla="*/ 705612 h 705611"/>
                  <a:gd name="connsiteX7" fmla="*/ 0 w 707135"/>
                  <a:gd name="connsiteY7" fmla="*/ 518795 h 705611"/>
                  <a:gd name="connsiteX8" fmla="*/ 0 w 707135"/>
                  <a:gd name="connsiteY8" fmla="*/ 186817 h 705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07135" h="705611">
                    <a:moveTo>
                      <a:pt x="0" y="186817"/>
                    </a:moveTo>
                    <a:cubicBezTo>
                      <a:pt x="0" y="83566"/>
                      <a:pt x="83566" y="0"/>
                      <a:pt x="186817" y="0"/>
                    </a:cubicBezTo>
                    <a:lnTo>
                      <a:pt x="520319" y="0"/>
                    </a:lnTo>
                    <a:cubicBezTo>
                      <a:pt x="623570" y="0"/>
                      <a:pt x="707136" y="83566"/>
                      <a:pt x="707136" y="186817"/>
                    </a:cubicBezTo>
                    <a:lnTo>
                      <a:pt x="707136" y="518795"/>
                    </a:lnTo>
                    <a:cubicBezTo>
                      <a:pt x="707136" y="622046"/>
                      <a:pt x="623570" y="705612"/>
                      <a:pt x="520319" y="705612"/>
                    </a:cubicBezTo>
                    <a:lnTo>
                      <a:pt x="186817" y="705612"/>
                    </a:lnTo>
                    <a:cubicBezTo>
                      <a:pt x="83566" y="705612"/>
                      <a:pt x="0" y="622046"/>
                      <a:pt x="0" y="518795"/>
                    </a:cubicBezTo>
                    <a:lnTo>
                      <a:pt x="0" y="186817"/>
                    </a:lnTo>
                    <a:close/>
                  </a:path>
                </a:pathLst>
              </a:custGeom>
              <a:solidFill>
                <a:schemeClr val="bg2"/>
              </a:solidFill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r>
                  <a:rPr lang="en-GB" sz="2400" dirty="0" err="1"/>
                  <a:t>Healthspan</a:t>
                </a:r>
                <a:endParaRPr lang="en-GB" sz="2400" dirty="0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37DE30FC-056A-69DF-EBC1-EDF4EDE8E7F3}"/>
                  </a:ext>
                </a:extLst>
              </p:cNvPr>
              <p:cNvSpPr/>
              <p:nvPr/>
            </p:nvSpPr>
            <p:spPr>
              <a:xfrm>
                <a:off x="6726808" y="1847088"/>
                <a:ext cx="290068" cy="38100"/>
              </a:xfrm>
              <a:custGeom>
                <a:avLst/>
                <a:gdLst>
                  <a:gd name="connsiteX0" fmla="*/ 271018 w 290068"/>
                  <a:gd name="connsiteY0" fmla="*/ 38100 h 38100"/>
                  <a:gd name="connsiteX1" fmla="*/ 19050 w 290068"/>
                  <a:gd name="connsiteY1" fmla="*/ 38100 h 38100"/>
                  <a:gd name="connsiteX2" fmla="*/ 0 w 290068"/>
                  <a:gd name="connsiteY2" fmla="*/ 19050 h 38100"/>
                  <a:gd name="connsiteX3" fmla="*/ 19050 w 290068"/>
                  <a:gd name="connsiteY3" fmla="*/ 0 h 38100"/>
                  <a:gd name="connsiteX4" fmla="*/ 271018 w 290068"/>
                  <a:gd name="connsiteY4" fmla="*/ 0 h 38100"/>
                  <a:gd name="connsiteX5" fmla="*/ 290068 w 290068"/>
                  <a:gd name="connsiteY5" fmla="*/ 19050 h 38100"/>
                  <a:gd name="connsiteX6" fmla="*/ 271018 w 290068"/>
                  <a:gd name="connsiteY6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0068" h="38100">
                    <a:moveTo>
                      <a:pt x="271018" y="38100"/>
                    </a:moveTo>
                    <a:lnTo>
                      <a:pt x="19050" y="38100"/>
                    </a:lnTo>
                    <a:cubicBezTo>
                      <a:pt x="8534" y="38100"/>
                      <a:pt x="0" y="29578"/>
                      <a:pt x="0" y="19050"/>
                    </a:cubicBezTo>
                    <a:cubicBezTo>
                      <a:pt x="0" y="8522"/>
                      <a:pt x="8534" y="0"/>
                      <a:pt x="19050" y="0"/>
                    </a:cubicBezTo>
                    <a:lnTo>
                      <a:pt x="271018" y="0"/>
                    </a:lnTo>
                    <a:cubicBezTo>
                      <a:pt x="281534" y="0"/>
                      <a:pt x="290068" y="8522"/>
                      <a:pt x="290068" y="19050"/>
                    </a:cubicBezTo>
                    <a:cubicBezTo>
                      <a:pt x="290068" y="29578"/>
                      <a:pt x="281534" y="38100"/>
                      <a:pt x="271018" y="38100"/>
                    </a:cubicBezTo>
                    <a:close/>
                  </a:path>
                </a:pathLst>
              </a:custGeom>
              <a:solidFill>
                <a:schemeClr val="tx2"/>
              </a:solidFill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7A385BF-B435-E8F5-E1E4-114F5FF79B8A}"/>
              </a:ext>
            </a:extLst>
          </p:cNvPr>
          <p:cNvGrpSpPr/>
          <p:nvPr/>
        </p:nvGrpSpPr>
        <p:grpSpPr>
          <a:xfrm>
            <a:off x="287337" y="1315429"/>
            <a:ext cx="5673600" cy="4285025"/>
            <a:chOff x="287338" y="1731599"/>
            <a:chExt cx="5673600" cy="4551725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7A1CEAF-CF04-04AD-DAD1-73124AA0055E}"/>
                </a:ext>
              </a:extLst>
            </p:cNvPr>
            <p:cNvSpPr txBox="1"/>
            <p:nvPr/>
          </p:nvSpPr>
          <p:spPr>
            <a:xfrm>
              <a:off x="287338" y="1731599"/>
              <a:ext cx="5673600" cy="4551725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244800" tIns="550800" rIns="244800" bIns="244800" rtlCol="0">
              <a:noAutofit/>
            </a:bodyPr>
            <a:lstStyle/>
            <a:p>
              <a:pPr lvl="1"/>
              <a:endParaRPr lang="en-GB" dirty="0">
                <a:solidFill>
                  <a:schemeClr val="bg1"/>
                </a:solidFill>
              </a:endParaRPr>
            </a:p>
            <a:p>
              <a:pPr lvl="1"/>
              <a:endParaRPr lang="en-GB" dirty="0">
                <a:solidFill>
                  <a:schemeClr val="bg1"/>
                </a:solidFill>
              </a:endParaRPr>
            </a:p>
            <a:p>
              <a:pPr lvl="1"/>
              <a:endParaRPr lang="en-GB" dirty="0">
                <a:solidFill>
                  <a:schemeClr val="bg1"/>
                </a:solidFill>
              </a:endParaRPr>
            </a:p>
            <a:p>
              <a:pPr lvl="1"/>
              <a:endParaRPr lang="en-GB" dirty="0">
                <a:solidFill>
                  <a:schemeClr val="bg1"/>
                </a:solidFill>
              </a:endParaRPr>
            </a:p>
            <a:p>
              <a:pPr lvl="1"/>
              <a:endParaRPr lang="en-GB" dirty="0">
                <a:solidFill>
                  <a:schemeClr val="bg1"/>
                </a:solidFill>
              </a:endParaRPr>
            </a:p>
            <a:p>
              <a:pPr lvl="1"/>
              <a:endParaRPr lang="en-GB" dirty="0">
                <a:solidFill>
                  <a:schemeClr val="bg1"/>
                </a:solidFill>
              </a:endParaRPr>
            </a:p>
            <a:p>
              <a:pPr lvl="1"/>
              <a:endParaRPr lang="en-GB" dirty="0">
                <a:solidFill>
                  <a:schemeClr val="bg1"/>
                </a:solidFill>
              </a:endParaRPr>
            </a:p>
            <a:p>
              <a:pPr marL="0" lvl="1" indent="0" algn="ctr">
                <a:buNone/>
              </a:pPr>
              <a:r>
                <a:rPr lang="en-GB" sz="3600" b="1" dirty="0">
                  <a:solidFill>
                    <a:schemeClr val="bg1"/>
                  </a:solidFill>
                </a:rPr>
                <a:t>79 </a:t>
              </a:r>
              <a:r>
                <a:rPr lang="en-GB" sz="3600" b="1" dirty="0" err="1">
                  <a:solidFill>
                    <a:schemeClr val="bg1"/>
                  </a:solidFill>
                </a:rPr>
                <a:t>años</a:t>
              </a:r>
              <a:endParaRPr lang="en-GB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F36B6BA-182E-9E49-9235-ECAA2C26AED5}"/>
                </a:ext>
              </a:extLst>
            </p:cNvPr>
            <p:cNvSpPr/>
            <p:nvPr/>
          </p:nvSpPr>
          <p:spPr>
            <a:xfrm>
              <a:off x="1934626" y="2083338"/>
              <a:ext cx="2379023" cy="1222952"/>
            </a:xfrm>
            <a:custGeom>
              <a:avLst/>
              <a:gdLst>
                <a:gd name="connsiteX0" fmla="*/ 0 w 705615"/>
                <a:gd name="connsiteY0" fmla="*/ 186817 h 705611"/>
                <a:gd name="connsiteX1" fmla="*/ 186779 w 705615"/>
                <a:gd name="connsiteY1" fmla="*/ 0 h 705611"/>
                <a:gd name="connsiteX2" fmla="*/ 518833 w 705615"/>
                <a:gd name="connsiteY2" fmla="*/ 0 h 705611"/>
                <a:gd name="connsiteX3" fmla="*/ 705616 w 705615"/>
                <a:gd name="connsiteY3" fmla="*/ 186817 h 705611"/>
                <a:gd name="connsiteX4" fmla="*/ 705616 w 705615"/>
                <a:gd name="connsiteY4" fmla="*/ 518795 h 705611"/>
                <a:gd name="connsiteX5" fmla="*/ 518833 w 705615"/>
                <a:gd name="connsiteY5" fmla="*/ 705612 h 705611"/>
                <a:gd name="connsiteX6" fmla="*/ 186779 w 705615"/>
                <a:gd name="connsiteY6" fmla="*/ 705612 h 705611"/>
                <a:gd name="connsiteX7" fmla="*/ 0 w 705615"/>
                <a:gd name="connsiteY7" fmla="*/ 518795 h 705611"/>
                <a:gd name="connsiteX8" fmla="*/ 0 w 705615"/>
                <a:gd name="connsiteY8" fmla="*/ 186817 h 705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5615" h="705611">
                  <a:moveTo>
                    <a:pt x="0" y="186817"/>
                  </a:moveTo>
                  <a:cubicBezTo>
                    <a:pt x="0" y="83566"/>
                    <a:pt x="83617" y="0"/>
                    <a:pt x="186779" y="0"/>
                  </a:cubicBezTo>
                  <a:lnTo>
                    <a:pt x="518833" y="0"/>
                  </a:lnTo>
                  <a:cubicBezTo>
                    <a:pt x="621995" y="0"/>
                    <a:pt x="705616" y="83566"/>
                    <a:pt x="705616" y="186817"/>
                  </a:cubicBezTo>
                  <a:lnTo>
                    <a:pt x="705616" y="518795"/>
                  </a:lnTo>
                  <a:cubicBezTo>
                    <a:pt x="705616" y="622046"/>
                    <a:pt x="621995" y="705612"/>
                    <a:pt x="518833" y="705612"/>
                  </a:cubicBezTo>
                  <a:lnTo>
                    <a:pt x="186779" y="705612"/>
                  </a:lnTo>
                  <a:cubicBezTo>
                    <a:pt x="83617" y="705612"/>
                    <a:pt x="0" y="622046"/>
                    <a:pt x="0" y="518795"/>
                  </a:cubicBezTo>
                  <a:lnTo>
                    <a:pt x="0" y="186817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</a:rPr>
                <a:t>Lifespan</a:t>
              </a:r>
              <a:endParaRPr lang="en-GB" dirty="0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5C731C3-58E2-2FB7-80A3-9A412B550A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Spa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2EC918-1107-0389-52DF-8308D71242E6}"/>
              </a:ext>
            </a:extLst>
          </p:cNvPr>
          <p:cNvSpPr txBox="1"/>
          <p:nvPr/>
        </p:nvSpPr>
        <p:spPr>
          <a:xfrm>
            <a:off x="5491188" y="1348723"/>
            <a:ext cx="1207477" cy="4689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MX" sz="11500" dirty="0">
                <a:solidFill>
                  <a:schemeClr val="accent3"/>
                </a:solidFill>
              </a:rPr>
              <a:t>≠</a:t>
            </a:r>
            <a:endParaRPr lang="en-GB" sz="11500" dirty="0">
              <a:solidFill>
                <a:schemeClr val="accent3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58446CC-96C0-98CD-96F1-AA77FEEEB66B}"/>
              </a:ext>
            </a:extLst>
          </p:cNvPr>
          <p:cNvGrpSpPr/>
          <p:nvPr/>
        </p:nvGrpSpPr>
        <p:grpSpPr>
          <a:xfrm>
            <a:off x="4512590" y="4547776"/>
            <a:ext cx="3165231" cy="2196000"/>
            <a:chOff x="4583723" y="4290646"/>
            <a:chExt cx="3165231" cy="2196000"/>
          </a:xfrm>
        </p:grpSpPr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519EE98A-AC10-974A-B4A3-E3F8437334D8}"/>
                </a:ext>
              </a:extLst>
            </p:cNvPr>
            <p:cNvCxnSpPr/>
            <p:nvPr/>
          </p:nvCxnSpPr>
          <p:spPr>
            <a:xfrm>
              <a:off x="4583723" y="4431323"/>
              <a:ext cx="770956" cy="656492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B205E64-74EA-7B04-9AC5-4195F5C080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24864" y="4290646"/>
              <a:ext cx="624090" cy="797169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4D2C0BD-2F7A-3C03-735C-763F8164E0D5}"/>
                </a:ext>
              </a:extLst>
            </p:cNvPr>
            <p:cNvSpPr txBox="1"/>
            <p:nvPr/>
          </p:nvSpPr>
          <p:spPr>
            <a:xfrm>
              <a:off x="5139823" y="5490184"/>
              <a:ext cx="2060168" cy="9964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Industrias </a:t>
              </a:r>
              <a:r>
                <a:rPr lang="en-GB" sz="2400" dirty="0" err="1"/>
                <a:t>Financieras</a:t>
              </a:r>
              <a:endParaRPr lang="en-GB" sz="2400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08DD14D-CA98-D916-2465-0BA927DA95B4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16" name="Group 4">
              <a:extLst>
                <a:ext uri="{FF2B5EF4-FFF2-40B4-BE49-F238E27FC236}">
                  <a16:creationId xmlns:a16="http://schemas.microsoft.com/office/drawing/2014/main" id="{C31BFE95-E563-E9C7-03E4-339A0B47BC5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86E720C6-5411-70D7-F5AA-2411E420AB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6">
                <a:extLst>
                  <a:ext uri="{FF2B5EF4-FFF2-40B4-BE49-F238E27FC236}">
                    <a16:creationId xmlns:a16="http://schemas.microsoft.com/office/drawing/2014/main" id="{FB094817-08EC-7487-4219-DCEF1D13D0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7">
                <a:extLst>
                  <a:ext uri="{FF2B5EF4-FFF2-40B4-BE49-F238E27FC236}">
                    <a16:creationId xmlns:a16="http://schemas.microsoft.com/office/drawing/2014/main" id="{6447D80E-2F90-DFB3-03F7-587B8E4F09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8">
                <a:extLst>
                  <a:ext uri="{FF2B5EF4-FFF2-40B4-BE49-F238E27FC236}">
                    <a16:creationId xmlns:a16="http://schemas.microsoft.com/office/drawing/2014/main" id="{F1A38BC8-BFE8-2639-81D8-E68D9458B3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9">
                <a:extLst>
                  <a:ext uri="{FF2B5EF4-FFF2-40B4-BE49-F238E27FC236}">
                    <a16:creationId xmlns:a16="http://schemas.microsoft.com/office/drawing/2014/main" id="{43E65AAE-4CD6-DD0B-D71A-A7F6BDC4A5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664C06E7-19A3-DDD3-44EF-B5D52815C5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4" name="Freeform 11">
                <a:extLst>
                  <a:ext uri="{FF2B5EF4-FFF2-40B4-BE49-F238E27FC236}">
                    <a16:creationId xmlns:a16="http://schemas.microsoft.com/office/drawing/2014/main" id="{24D4A153-4CFF-9B85-8842-4A3909777D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231190B1-EC82-3FA1-48A6-E46ED488FC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6" name="Freeform 13">
                <a:extLst>
                  <a:ext uri="{FF2B5EF4-FFF2-40B4-BE49-F238E27FC236}">
                    <a16:creationId xmlns:a16="http://schemas.microsoft.com/office/drawing/2014/main" id="{FDFF0193-4B93-514B-CC44-C9D30857DB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14">
                <a:extLst>
                  <a:ext uri="{FF2B5EF4-FFF2-40B4-BE49-F238E27FC236}">
                    <a16:creationId xmlns:a16="http://schemas.microsoft.com/office/drawing/2014/main" id="{E24B0657-B3D3-D618-4BA9-B51322997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9" name="Freeform 15">
                <a:extLst>
                  <a:ext uri="{FF2B5EF4-FFF2-40B4-BE49-F238E27FC236}">
                    <a16:creationId xmlns:a16="http://schemas.microsoft.com/office/drawing/2014/main" id="{F5272958-F447-2FFB-D4BF-326DDBFA5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0" name="Freeform 16">
                <a:extLst>
                  <a:ext uri="{FF2B5EF4-FFF2-40B4-BE49-F238E27FC236}">
                    <a16:creationId xmlns:a16="http://schemas.microsoft.com/office/drawing/2014/main" id="{34A6B96A-9B90-9C6F-7583-ED87C1D4D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9D98AFA-53C3-5985-ED92-DAF6480B1958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86888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39140-8035-C711-D093-67BD3F862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En </a:t>
            </a:r>
            <a:r>
              <a:rPr lang="en-GB" dirty="0" err="1"/>
              <a:t>términos</a:t>
            </a:r>
            <a:r>
              <a:rPr lang="en-GB" dirty="0"/>
              <a:t> de </a:t>
            </a:r>
            <a:r>
              <a:rPr lang="en-GB" dirty="0" err="1"/>
              <a:t>supervivencia</a:t>
            </a:r>
            <a:endParaRPr lang="en-GB" dirty="0"/>
          </a:p>
        </p:txBody>
      </p:sp>
      <p:pic>
        <p:nvPicPr>
          <p:cNvPr id="5" name="Picture 4" descr="A graph showing the growth of a baby&#10;&#10;AI-generated content may be incorrect.">
            <a:extLst>
              <a:ext uri="{FF2B5EF4-FFF2-40B4-BE49-F238E27FC236}">
                <a16:creationId xmlns:a16="http://schemas.microsoft.com/office/drawing/2014/main" id="{A87350D7-34CD-636D-E13E-17443C2DDF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79" b="11850"/>
          <a:stretch/>
        </p:blipFill>
        <p:spPr>
          <a:xfrm>
            <a:off x="1064702" y="1409106"/>
            <a:ext cx="10061005" cy="4415629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EDD078B-002E-4756-09C7-F07360939F30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7" name="Group 4">
              <a:extLst>
                <a:ext uri="{FF2B5EF4-FFF2-40B4-BE49-F238E27FC236}">
                  <a16:creationId xmlns:a16="http://schemas.microsoft.com/office/drawing/2014/main" id="{ADDE23B1-E73C-56D0-B1C9-2EF28038228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9" name="Freeform 5">
                <a:extLst>
                  <a:ext uri="{FF2B5EF4-FFF2-40B4-BE49-F238E27FC236}">
                    <a16:creationId xmlns:a16="http://schemas.microsoft.com/office/drawing/2014/main" id="{919F2E80-DC0E-3C59-C7B9-AE10EE5B80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Freeform 6">
                <a:extLst>
                  <a:ext uri="{FF2B5EF4-FFF2-40B4-BE49-F238E27FC236}">
                    <a16:creationId xmlns:a16="http://schemas.microsoft.com/office/drawing/2014/main" id="{369DEDE8-B6FE-8325-C013-B8C6FEA8B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63DD8749-7E7F-C9EA-3ECB-149B40741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C8AE3875-3C8D-61A0-598F-037400997D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472F5761-86AB-48D8-7680-2E8E65FFD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2312888F-A016-0CA0-8F1E-10445577B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6AD7E59D-6B03-F49B-8642-BEEBBB3CA3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12">
                <a:extLst>
                  <a:ext uri="{FF2B5EF4-FFF2-40B4-BE49-F238E27FC236}">
                    <a16:creationId xmlns:a16="http://schemas.microsoft.com/office/drawing/2014/main" id="{4297CD40-06A9-E5F1-8970-40847C436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13">
                <a:extLst>
                  <a:ext uri="{FF2B5EF4-FFF2-40B4-BE49-F238E27FC236}">
                    <a16:creationId xmlns:a16="http://schemas.microsoft.com/office/drawing/2014/main" id="{141803C7-F63B-6EEC-DF58-76CAEE19C2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0CE2FF6F-05FC-4645-C5B5-9C27FFE5B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15">
                <a:extLst>
                  <a:ext uri="{FF2B5EF4-FFF2-40B4-BE49-F238E27FC236}">
                    <a16:creationId xmlns:a16="http://schemas.microsoft.com/office/drawing/2014/main" id="{80F4C68E-480A-0A20-0F35-4CDD420D11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16">
                <a:extLst>
                  <a:ext uri="{FF2B5EF4-FFF2-40B4-BE49-F238E27FC236}">
                    <a16:creationId xmlns:a16="http://schemas.microsoft.com/office/drawing/2014/main" id="{92DB35B5-EFFA-968C-00D9-508565F16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CB4C47F-EE65-706E-FD0C-44EBA590B902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B6DE7B3D-EF06-17FE-01FB-68F11C7C344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ource: Health Foundation Analysis of Office for National Statistics</a:t>
            </a:r>
            <a:endParaRPr lang="en-GB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BD2D485-5CB1-7AB4-3C6A-C879716E66A6}"/>
              </a:ext>
            </a:extLst>
          </p:cNvPr>
          <p:cNvSpPr/>
          <p:nvPr/>
        </p:nvSpPr>
        <p:spPr>
          <a:xfrm>
            <a:off x="7784123" y="1922585"/>
            <a:ext cx="1207477" cy="3153507"/>
          </a:xfrm>
          <a:prstGeom prst="roundRect">
            <a:avLst/>
          </a:prstGeom>
          <a:solidFill>
            <a:srgbClr val="F5D9E1">
              <a:alpha val="50196"/>
            </a:srgbClr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396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2950B2-A7DC-3E1A-5771-31BF14EFA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247DFD-7ACE-6CB1-82ED-1A898B728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Spans </a:t>
            </a:r>
            <a:r>
              <a:rPr lang="en-GB" dirty="0" err="1"/>
              <a:t>en</a:t>
            </a:r>
            <a:r>
              <a:rPr lang="en-GB" dirty="0"/>
              <a:t> Costo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77DCE92-EF52-8D83-1511-FC3B4DA0C8F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991DEB-636A-408B-12D0-7D91CB2E616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/>
              <a:t>Source: Risk Management Solutions, Insurtech insight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F189576-83AE-EA72-3280-791CCDCC3D58}"/>
              </a:ext>
            </a:extLst>
          </p:cNvPr>
          <p:cNvCxnSpPr/>
          <p:nvPr/>
        </p:nvCxnSpPr>
        <p:spPr>
          <a:xfrm>
            <a:off x="1934308" y="5240215"/>
            <a:ext cx="302455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4607F54-38FB-395D-9C2F-2CFFD1CB1B2E}"/>
              </a:ext>
            </a:extLst>
          </p:cNvPr>
          <p:cNvCxnSpPr/>
          <p:nvPr/>
        </p:nvCxnSpPr>
        <p:spPr>
          <a:xfrm>
            <a:off x="6881446" y="5263661"/>
            <a:ext cx="302455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993D72DF-A397-90EE-3492-9FB1A6E4DD64}"/>
              </a:ext>
            </a:extLst>
          </p:cNvPr>
          <p:cNvSpPr txBox="1"/>
          <p:nvPr/>
        </p:nvSpPr>
        <p:spPr>
          <a:xfrm>
            <a:off x="2097461" y="5344755"/>
            <a:ext cx="2508739" cy="2598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dirty="0"/>
              <a:t>Riesgo de </a:t>
            </a:r>
            <a:r>
              <a:rPr lang="en-GB" dirty="0" err="1"/>
              <a:t>Longevidad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D90DAF-F941-2962-952E-42B1CDB54AC7}"/>
              </a:ext>
            </a:extLst>
          </p:cNvPr>
          <p:cNvSpPr txBox="1"/>
          <p:nvPr/>
        </p:nvSpPr>
        <p:spPr>
          <a:xfrm>
            <a:off x="7139353" y="5344755"/>
            <a:ext cx="2508739" cy="2598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dirty="0" err="1"/>
              <a:t>Catástofes</a:t>
            </a:r>
            <a:r>
              <a:rPr lang="en-GB" dirty="0"/>
              <a:t> naturale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EDBD052-EAF9-9606-1FD5-01779D69CE0D}"/>
              </a:ext>
            </a:extLst>
          </p:cNvPr>
          <p:cNvSpPr/>
          <p:nvPr/>
        </p:nvSpPr>
        <p:spPr>
          <a:xfrm>
            <a:off x="2977662" y="1781909"/>
            <a:ext cx="621323" cy="334107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502E29F-D32D-570D-5B5F-FBC7F0C366CB}"/>
              </a:ext>
            </a:extLst>
          </p:cNvPr>
          <p:cNvSpPr/>
          <p:nvPr/>
        </p:nvSpPr>
        <p:spPr>
          <a:xfrm>
            <a:off x="2977662" y="3429000"/>
            <a:ext cx="621323" cy="1678552"/>
          </a:xfrm>
          <a:prstGeom prst="roundRect">
            <a:avLst/>
          </a:prstGeom>
          <a:solidFill>
            <a:schemeClr val="tx2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F1C558-D16C-0765-D951-4E9D5A5C8090}"/>
              </a:ext>
            </a:extLst>
          </p:cNvPr>
          <p:cNvSpPr txBox="1"/>
          <p:nvPr/>
        </p:nvSpPr>
        <p:spPr>
          <a:xfrm>
            <a:off x="3798277" y="4173415"/>
            <a:ext cx="914400" cy="3888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dirty="0"/>
              <a:t>U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B30088-9165-DEA5-CDC2-7F3E5BF28D18}"/>
              </a:ext>
            </a:extLst>
          </p:cNvPr>
          <p:cNvSpPr txBox="1"/>
          <p:nvPr/>
        </p:nvSpPr>
        <p:spPr>
          <a:xfrm>
            <a:off x="3762139" y="2742234"/>
            <a:ext cx="914400" cy="3888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dirty="0"/>
              <a:t>Europa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DD33EB9-304D-89F8-449A-D33B2A3D0459}"/>
              </a:ext>
            </a:extLst>
          </p:cNvPr>
          <p:cNvSpPr/>
          <p:nvPr/>
        </p:nvSpPr>
        <p:spPr>
          <a:xfrm>
            <a:off x="2977661" y="1781909"/>
            <a:ext cx="621323" cy="212869"/>
          </a:xfrm>
          <a:prstGeom prst="roundRect">
            <a:avLst/>
          </a:prstGeom>
          <a:solidFill>
            <a:schemeClr val="accent4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E7FEAA-6183-C4BC-EA94-8D1B02B2D739}"/>
              </a:ext>
            </a:extLst>
          </p:cNvPr>
          <p:cNvSpPr txBox="1"/>
          <p:nvPr/>
        </p:nvSpPr>
        <p:spPr>
          <a:xfrm>
            <a:off x="3726000" y="1786601"/>
            <a:ext cx="914400" cy="3888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dirty="0" err="1"/>
              <a:t>Canadá</a:t>
            </a:r>
            <a:endParaRPr lang="en-GB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7991253-F8B3-7A9A-2ED2-A16082D2A7EA}"/>
              </a:ext>
            </a:extLst>
          </p:cNvPr>
          <p:cNvSpPr/>
          <p:nvPr/>
        </p:nvSpPr>
        <p:spPr>
          <a:xfrm>
            <a:off x="8083060" y="4056185"/>
            <a:ext cx="621323" cy="106679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DFE377C-589D-B22F-058E-45A9462A1450}"/>
              </a:ext>
            </a:extLst>
          </p:cNvPr>
          <p:cNvCxnSpPr/>
          <p:nvPr/>
        </p:nvCxnSpPr>
        <p:spPr>
          <a:xfrm flipH="1">
            <a:off x="4958862" y="4360985"/>
            <a:ext cx="1922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442E2B33-95C3-6548-6E35-71368C26450A}"/>
              </a:ext>
            </a:extLst>
          </p:cNvPr>
          <p:cNvSpPr txBox="1"/>
          <p:nvPr/>
        </p:nvSpPr>
        <p:spPr>
          <a:xfrm>
            <a:off x="5263662" y="3892062"/>
            <a:ext cx="1289538" cy="3888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2400" dirty="0"/>
              <a:t>~ 5x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300BF5D-A303-C311-3154-B59D1BEC475B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22" name="Group 4">
              <a:extLst>
                <a:ext uri="{FF2B5EF4-FFF2-40B4-BE49-F238E27FC236}">
                  <a16:creationId xmlns:a16="http://schemas.microsoft.com/office/drawing/2014/main" id="{68F09886-AA84-5744-A8C8-0EB0C68D06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24" name="Freeform 5">
                <a:extLst>
                  <a:ext uri="{FF2B5EF4-FFF2-40B4-BE49-F238E27FC236}">
                    <a16:creationId xmlns:a16="http://schemas.microsoft.com/office/drawing/2014/main" id="{68C63779-6E29-A749-FE89-7206ED642C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6">
                <a:extLst>
                  <a:ext uri="{FF2B5EF4-FFF2-40B4-BE49-F238E27FC236}">
                    <a16:creationId xmlns:a16="http://schemas.microsoft.com/office/drawing/2014/main" id="{ACFBBB32-0844-FF6F-2C3D-C2DDD1F49E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6" name="Freeform 7">
                <a:extLst>
                  <a:ext uri="{FF2B5EF4-FFF2-40B4-BE49-F238E27FC236}">
                    <a16:creationId xmlns:a16="http://schemas.microsoft.com/office/drawing/2014/main" id="{FC7C004A-0CCA-4A1D-CF9F-B0798350CA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8">
                <a:extLst>
                  <a:ext uri="{FF2B5EF4-FFF2-40B4-BE49-F238E27FC236}">
                    <a16:creationId xmlns:a16="http://schemas.microsoft.com/office/drawing/2014/main" id="{53D70C87-D251-0363-9B85-608659FAF6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8" name="Freeform 9">
                <a:extLst>
                  <a:ext uri="{FF2B5EF4-FFF2-40B4-BE49-F238E27FC236}">
                    <a16:creationId xmlns:a16="http://schemas.microsoft.com/office/drawing/2014/main" id="{2B07EB83-BE43-867D-AFF7-DB191E2A5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9" name="Freeform 10">
                <a:extLst>
                  <a:ext uri="{FF2B5EF4-FFF2-40B4-BE49-F238E27FC236}">
                    <a16:creationId xmlns:a16="http://schemas.microsoft.com/office/drawing/2014/main" id="{4CFEC8EF-E680-B1D0-54D0-965E55CDA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2CF1F20B-38D4-8BC5-A390-0A7B53790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BF2B5DF4-2F80-4C15-735D-01762A024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0A51D392-EBE9-A92A-39E1-B03DB8548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D0861778-8509-A115-B4BB-70C6EC8CF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DAFDA407-B96C-EE0D-46BF-CDA1B4F21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5881672B-51BF-2252-26FF-EEAB724D14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50471A3-2A73-B2DE-DA46-28B3C31EA7E5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607026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3CF908-BF4E-B089-DFE5-FA95DA780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 err="1"/>
              <a:t>Pirámide</a:t>
            </a:r>
            <a:r>
              <a:rPr lang="en-GB" dirty="0"/>
              <a:t> </a:t>
            </a:r>
            <a:r>
              <a:rPr lang="en-GB" dirty="0" err="1"/>
              <a:t>Poblacional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52FE027-2D1B-8B20-2A6A-34F7868FA3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8640" y="1326030"/>
            <a:ext cx="7810436" cy="4902654"/>
          </a:xfrm>
          <a:prstGeom prst="rect">
            <a:avLst/>
          </a:prstGeom>
        </p:spPr>
      </p:pic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A5A569-11C4-3DFD-A5B4-403E90F58E9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s-MX" dirty="0" err="1"/>
              <a:t>Source</a:t>
            </a:r>
            <a:r>
              <a:rPr lang="es-MX" dirty="0"/>
              <a:t>: </a:t>
            </a:r>
            <a:r>
              <a:rPr lang="es-MX" dirty="0" err="1"/>
              <a:t>Tessopress</a:t>
            </a:r>
            <a:r>
              <a:rPr lang="es-MX" dirty="0"/>
              <a:t>. América Latina en Transición Demográfica</a:t>
            </a:r>
            <a:endParaRPr lang="en-GB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CC35746-F782-1826-841D-4ABEDB0F0740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13" name="Group 4">
              <a:extLst>
                <a:ext uri="{FF2B5EF4-FFF2-40B4-BE49-F238E27FC236}">
                  <a16:creationId xmlns:a16="http://schemas.microsoft.com/office/drawing/2014/main" id="{02FD3FE4-E5B1-4322-2BFA-72565CF23FD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60F2B5C2-0FF7-C37E-D6D9-B96A36508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254A9D98-852B-CFC5-B45D-1054D2015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7AFB9198-BCBD-8A7A-AA76-2C2C7E22E4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58345AF4-4D28-B868-A534-D8D23BAEC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B85604E6-8FFB-037E-2FAB-1D3637677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FC47ACF7-AE9F-0821-11F4-5E4AB62EA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54B281EA-4FCC-A8A0-1E66-AA8D12A31A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FB332238-B638-8625-DF77-387366FC1C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8BCB389C-492C-C9D6-2743-30424BEAD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4" name="Freeform 14">
                <a:extLst>
                  <a:ext uri="{FF2B5EF4-FFF2-40B4-BE49-F238E27FC236}">
                    <a16:creationId xmlns:a16="http://schemas.microsoft.com/office/drawing/2014/main" id="{3AE9EE92-5BFF-8C5D-E677-6E9DC106A1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15">
                <a:extLst>
                  <a:ext uri="{FF2B5EF4-FFF2-40B4-BE49-F238E27FC236}">
                    <a16:creationId xmlns:a16="http://schemas.microsoft.com/office/drawing/2014/main" id="{53FDB07C-7B65-5F47-74AF-A7981B4F58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6" name="Freeform 16">
                <a:extLst>
                  <a:ext uri="{FF2B5EF4-FFF2-40B4-BE49-F238E27FC236}">
                    <a16:creationId xmlns:a16="http://schemas.microsoft.com/office/drawing/2014/main" id="{5FB437ED-77DE-ED7E-CCFF-AFBAB6A21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091DF97-27E1-14C0-BB68-C3CE8AA9968C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169445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F2A5F-543F-DE41-E7CD-5D3885430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rámida </a:t>
            </a:r>
            <a:r>
              <a:rPr lang="en-GB" dirty="0" err="1"/>
              <a:t>poblaciona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0611B7-F69E-9337-0630-8A80D98D332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r>
              <a:rPr lang="en-GB" sz="2000" dirty="0"/>
              <a:t>Por </a:t>
            </a:r>
            <a:r>
              <a:rPr lang="en-GB" sz="2000" dirty="0" err="1"/>
              <a:t>cada</a:t>
            </a:r>
            <a:r>
              <a:rPr lang="en-GB" sz="2000" dirty="0"/>
              <a:t>, persona mayor a los 65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9526186-3749-6C03-4E19-876FE9595DA7}"/>
              </a:ext>
            </a:extLst>
          </p:cNvPr>
          <p:cNvSpPr/>
          <p:nvPr/>
        </p:nvSpPr>
        <p:spPr>
          <a:xfrm>
            <a:off x="2678723" y="2250830"/>
            <a:ext cx="2473570" cy="2356339"/>
          </a:xfrm>
          <a:prstGeom prst="ellipse">
            <a:avLst/>
          </a:pr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r>
              <a:rPr lang="en-GB" sz="2800" dirty="0">
                <a:solidFill>
                  <a:schemeClr val="bg1"/>
                </a:solidFill>
              </a:rPr>
              <a:t>1950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</a:rPr>
              <a:t>12 PEA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050F318-14EC-9508-BCEE-123CC768CBD3}"/>
              </a:ext>
            </a:extLst>
          </p:cNvPr>
          <p:cNvSpPr/>
          <p:nvPr/>
        </p:nvSpPr>
        <p:spPr>
          <a:xfrm>
            <a:off x="6899031" y="2250830"/>
            <a:ext cx="2473570" cy="2356339"/>
          </a:xfrm>
          <a:prstGeom prst="ellips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r>
              <a:rPr lang="en-GB" sz="2800" dirty="0">
                <a:solidFill>
                  <a:schemeClr val="bg1"/>
                </a:solidFill>
              </a:rPr>
              <a:t>2040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</a:rPr>
              <a:t>4 PEA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A3192B2E-DCF4-1F77-8F16-347D2A843685}"/>
              </a:ext>
            </a:extLst>
          </p:cNvPr>
          <p:cNvSpPr/>
          <p:nvPr/>
        </p:nvSpPr>
        <p:spPr>
          <a:xfrm rot="5400000">
            <a:off x="4868562" y="3171473"/>
            <a:ext cx="2453286" cy="612000"/>
          </a:xfrm>
          <a:prstGeom prst="triangl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322AA62-7416-67D1-E665-CCBCDC9552EA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9" name="Group 4">
              <a:extLst>
                <a:ext uri="{FF2B5EF4-FFF2-40B4-BE49-F238E27FC236}">
                  <a16:creationId xmlns:a16="http://schemas.microsoft.com/office/drawing/2014/main" id="{FDEA9098-087D-A00F-13C5-708041263A8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E25EE542-1958-B194-253C-25358A0D7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Freeform 6">
                <a:extLst>
                  <a:ext uri="{FF2B5EF4-FFF2-40B4-BE49-F238E27FC236}">
                    <a16:creationId xmlns:a16="http://schemas.microsoft.com/office/drawing/2014/main" id="{96833B9C-CBAA-9475-3F9F-F056F4DD0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F09EAC19-0BA5-B560-1CB0-C60D1D2DE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8">
                <a:extLst>
                  <a:ext uri="{FF2B5EF4-FFF2-40B4-BE49-F238E27FC236}">
                    <a16:creationId xmlns:a16="http://schemas.microsoft.com/office/drawing/2014/main" id="{FD180770-1CDE-A327-C054-0D490461E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9">
                <a:extLst>
                  <a:ext uri="{FF2B5EF4-FFF2-40B4-BE49-F238E27FC236}">
                    <a16:creationId xmlns:a16="http://schemas.microsoft.com/office/drawing/2014/main" id="{523F4F07-FAB5-1C0A-9346-D62B13D57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10">
                <a:extLst>
                  <a:ext uri="{FF2B5EF4-FFF2-40B4-BE49-F238E27FC236}">
                    <a16:creationId xmlns:a16="http://schemas.microsoft.com/office/drawing/2014/main" id="{52A58858-D3AC-678F-6434-74B078290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11">
                <a:extLst>
                  <a:ext uri="{FF2B5EF4-FFF2-40B4-BE49-F238E27FC236}">
                    <a16:creationId xmlns:a16="http://schemas.microsoft.com/office/drawing/2014/main" id="{E81F8B1E-983C-C53A-60DB-2B0BA59881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12">
                <a:extLst>
                  <a:ext uri="{FF2B5EF4-FFF2-40B4-BE49-F238E27FC236}">
                    <a16:creationId xmlns:a16="http://schemas.microsoft.com/office/drawing/2014/main" id="{D62C68B1-AF52-B7D1-F333-136BF072E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13">
                <a:extLst>
                  <a:ext uri="{FF2B5EF4-FFF2-40B4-BE49-F238E27FC236}">
                    <a16:creationId xmlns:a16="http://schemas.microsoft.com/office/drawing/2014/main" id="{266529E5-A7F3-3E7B-FBCA-BA4D9CD5AD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14">
                <a:extLst>
                  <a:ext uri="{FF2B5EF4-FFF2-40B4-BE49-F238E27FC236}">
                    <a16:creationId xmlns:a16="http://schemas.microsoft.com/office/drawing/2014/main" id="{31EDE4C1-4E0D-1893-E6E3-E65BA66F9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15">
                <a:extLst>
                  <a:ext uri="{FF2B5EF4-FFF2-40B4-BE49-F238E27FC236}">
                    <a16:creationId xmlns:a16="http://schemas.microsoft.com/office/drawing/2014/main" id="{DF4C47CE-82D3-383F-FDAF-79148E74B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16">
                <a:extLst>
                  <a:ext uri="{FF2B5EF4-FFF2-40B4-BE49-F238E27FC236}">
                    <a16:creationId xmlns:a16="http://schemas.microsoft.com/office/drawing/2014/main" id="{82D7235F-94E7-1330-A218-310086933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D4E92B6-C7BF-01A6-FD31-CF4618C74507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  <p:sp>
        <p:nvSpPr>
          <p:cNvPr id="23" name="Footer Placeholder 10">
            <a:extLst>
              <a:ext uri="{FF2B5EF4-FFF2-40B4-BE49-F238E27FC236}">
                <a16:creationId xmlns:a16="http://schemas.microsoft.com/office/drawing/2014/main" id="{366C44FA-9E35-93DD-1BEB-1D2E739C60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278000" y="6450420"/>
            <a:ext cx="6656400" cy="144000"/>
          </a:xfrm>
        </p:spPr>
        <p:txBody>
          <a:bodyPr/>
          <a:lstStyle/>
          <a:p>
            <a:r>
              <a:rPr lang="es-MX" dirty="0" err="1"/>
              <a:t>Source</a:t>
            </a:r>
            <a:r>
              <a:rPr lang="es-MX" dirty="0"/>
              <a:t>: </a:t>
            </a:r>
            <a:r>
              <a:rPr lang="es-MX" dirty="0" err="1"/>
              <a:t>Tessopress</a:t>
            </a:r>
            <a:r>
              <a:rPr lang="es-MX" dirty="0"/>
              <a:t>. América Latina en Transición Demográfic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861905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D96228D-4FAC-55B4-FE65-92B998F4F83B}"/>
              </a:ext>
            </a:extLst>
          </p:cNvPr>
          <p:cNvSpPr txBox="1">
            <a:spLocks noChangeAspect="1"/>
          </p:cNvSpPr>
          <p:nvPr/>
        </p:nvSpPr>
        <p:spPr>
          <a:xfrm>
            <a:off x="92160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 rtlCol="0" anchor="ctr" anchorCtr="0">
            <a:noAutofit/>
          </a:bodyPr>
          <a:lstStyle/>
          <a:p>
            <a:pPr lvl="5"/>
            <a:r>
              <a:rPr lang="en-GB" dirty="0"/>
              <a:t>4</a:t>
            </a:r>
          </a:p>
          <a:p>
            <a:pPr lvl="5"/>
            <a:r>
              <a:rPr lang="en-GB" dirty="0"/>
              <a:t>Esperanza de Vida </a:t>
            </a:r>
            <a:r>
              <a:rPr lang="en-GB" dirty="0" err="1"/>
              <a:t>Proyectada</a:t>
            </a:r>
            <a:endParaRPr lang="en-GB" dirty="0"/>
          </a:p>
          <a:p>
            <a:pPr lvl="5"/>
            <a:endParaRPr lang="en-GB" dirty="0"/>
          </a:p>
          <a:p>
            <a:pPr lvl="5"/>
            <a:endParaRPr lang="en-GB" dirty="0"/>
          </a:p>
          <a:p>
            <a:pPr lvl="5"/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D53A47-DF39-8ACE-754B-389C3B44948E}"/>
              </a:ext>
            </a:extLst>
          </p:cNvPr>
          <p:cNvSpPr txBox="1">
            <a:spLocks noChangeAspect="1"/>
          </p:cNvSpPr>
          <p:nvPr/>
        </p:nvSpPr>
        <p:spPr>
          <a:xfrm>
            <a:off x="6231600" y="13788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44000" tIns="144000" rIns="144000" bIns="144000" rtlCol="0" anchor="ctr" anchorCtr="0">
            <a:noAutofit/>
          </a:bodyPr>
          <a:lstStyle/>
          <a:p>
            <a:pPr lvl="5"/>
            <a:r>
              <a:rPr lang="en-GB" b="0" dirty="0">
                <a:solidFill>
                  <a:schemeClr val="bg1"/>
                </a:solidFill>
              </a:rPr>
              <a:t>3</a:t>
            </a:r>
          </a:p>
          <a:p>
            <a:pPr lvl="5"/>
            <a:r>
              <a:rPr lang="en-GB" b="0" dirty="0" err="1">
                <a:solidFill>
                  <a:schemeClr val="bg1"/>
                </a:solidFill>
              </a:rPr>
              <a:t>Descubrimientos</a:t>
            </a:r>
            <a:r>
              <a:rPr lang="en-GB" b="0" dirty="0">
                <a:solidFill>
                  <a:schemeClr val="bg1"/>
                </a:solidFill>
              </a:rPr>
              <a:t> e </a:t>
            </a:r>
            <a:r>
              <a:rPr lang="en-GB" b="0" dirty="0" err="1">
                <a:solidFill>
                  <a:schemeClr val="bg1"/>
                </a:solidFill>
              </a:rPr>
              <a:t>Investigaciones</a:t>
            </a:r>
            <a:endParaRPr lang="en-GB" b="0" dirty="0">
              <a:solidFill>
                <a:schemeClr val="bg1"/>
              </a:solidFill>
            </a:endParaRPr>
          </a:p>
          <a:p>
            <a:pPr lvl="5"/>
            <a:endParaRPr lang="en-GB" b="0" dirty="0">
              <a:solidFill>
                <a:schemeClr val="bg1"/>
              </a:solidFill>
            </a:endParaRPr>
          </a:p>
          <a:p>
            <a:pPr lvl="5"/>
            <a:endParaRPr lang="en-GB" b="0" dirty="0">
              <a:solidFill>
                <a:schemeClr val="bg1"/>
              </a:solidFill>
            </a:endParaRPr>
          </a:p>
          <a:p>
            <a:pPr lvl="5"/>
            <a:endParaRPr lang="en-GB" b="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8B0B2D-CE80-9AE0-8FDA-E0F022BB3AA1}"/>
              </a:ext>
            </a:extLst>
          </p:cNvPr>
          <p:cNvSpPr txBox="1">
            <a:spLocks noChangeAspect="1"/>
          </p:cNvSpPr>
          <p:nvPr/>
        </p:nvSpPr>
        <p:spPr>
          <a:xfrm>
            <a:off x="3268800" y="1380500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  <a:solidFill>
            <a:srgbClr val="721833"/>
          </a:solidFill>
        </p:spPr>
        <p:txBody>
          <a:bodyPr wrap="square" lIns="144000" tIns="144000" rIns="144000" bIns="144000" rtlCol="0" anchor="ctr" anchorCtr="0">
            <a:noAutofit/>
          </a:bodyPr>
          <a:lstStyle/>
          <a:p>
            <a:pPr lvl="5"/>
            <a:r>
              <a:rPr lang="en-GB" dirty="0">
                <a:solidFill>
                  <a:schemeClr val="bg1"/>
                </a:solidFill>
              </a:rPr>
              <a:t>2</a:t>
            </a:r>
          </a:p>
          <a:p>
            <a:pPr lvl="5"/>
            <a:r>
              <a:rPr lang="en-GB" dirty="0">
                <a:solidFill>
                  <a:schemeClr val="bg1"/>
                </a:solidFill>
              </a:rPr>
              <a:t>Impacto </a:t>
            </a:r>
            <a:r>
              <a:rPr lang="en-GB" dirty="0" err="1">
                <a:solidFill>
                  <a:schemeClr val="bg1"/>
                </a:solidFill>
              </a:rPr>
              <a:t>en</a:t>
            </a:r>
            <a:r>
              <a:rPr lang="en-GB" dirty="0">
                <a:solidFill>
                  <a:schemeClr val="bg1"/>
                </a:solidFill>
              </a:rPr>
              <a:t> 20 </a:t>
            </a:r>
            <a:r>
              <a:rPr lang="en-GB" dirty="0" err="1">
                <a:solidFill>
                  <a:schemeClr val="bg1"/>
                </a:solidFill>
              </a:rPr>
              <a:t>años</a:t>
            </a:r>
            <a:endParaRPr lang="en-GB" dirty="0">
              <a:solidFill>
                <a:schemeClr val="bg1"/>
              </a:solidFill>
            </a:endParaRPr>
          </a:p>
          <a:p>
            <a:pPr lvl="5"/>
            <a:endParaRPr lang="en-GB" dirty="0">
              <a:solidFill>
                <a:schemeClr val="bg1"/>
              </a:solidFill>
            </a:endParaRPr>
          </a:p>
          <a:p>
            <a:pPr lvl="5"/>
            <a:endParaRPr lang="en-GB" dirty="0">
              <a:solidFill>
                <a:schemeClr val="bg1"/>
              </a:solidFill>
            </a:endParaRPr>
          </a:p>
          <a:p>
            <a:pPr lvl="5"/>
            <a:endParaRPr lang="en-GB" dirty="0">
              <a:solidFill>
                <a:schemeClr val="bg1"/>
              </a:solidFill>
            </a:endParaRPr>
          </a:p>
          <a:p>
            <a:pPr lvl="5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2C7609E-F6E7-D2EE-4C9A-3A40233113C1}"/>
              </a:ext>
            </a:extLst>
          </p:cNvPr>
          <p:cNvSpPr txBox="1">
            <a:spLocks noChangeAspect="1"/>
          </p:cNvSpPr>
          <p:nvPr/>
        </p:nvSpPr>
        <p:spPr>
          <a:xfrm>
            <a:off x="288000" y="1380125"/>
            <a:ext cx="2685600" cy="4903200"/>
          </a:xfrm>
          <a:custGeom>
            <a:avLst/>
            <a:gdLst>
              <a:gd name="connsiteX0" fmla="*/ 283189 w 2685600"/>
              <a:gd name="connsiteY0" fmla="*/ 0 h 4903200"/>
              <a:gd name="connsiteX1" fmla="*/ 2403886 w 2685600"/>
              <a:gd name="connsiteY1" fmla="*/ 0 h 4903200"/>
              <a:gd name="connsiteX2" fmla="*/ 2681321 w 2685600"/>
              <a:gd name="connsiteY2" fmla="*/ 226255 h 4903200"/>
              <a:gd name="connsiteX3" fmla="*/ 2685600 w 2685600"/>
              <a:gd name="connsiteY3" fmla="*/ 268721 h 4903200"/>
              <a:gd name="connsiteX4" fmla="*/ 2685600 w 2685600"/>
              <a:gd name="connsiteY4" fmla="*/ 4634480 h 4903200"/>
              <a:gd name="connsiteX5" fmla="*/ 2681321 w 2685600"/>
              <a:gd name="connsiteY5" fmla="*/ 4676946 h 4903200"/>
              <a:gd name="connsiteX6" fmla="*/ 2514115 w 2685600"/>
              <a:gd name="connsiteY6" fmla="*/ 4880933 h 4903200"/>
              <a:gd name="connsiteX7" fmla="*/ 2403891 w 2685600"/>
              <a:gd name="connsiteY7" fmla="*/ 4903200 h 4903200"/>
              <a:gd name="connsiteX8" fmla="*/ 283184 w 2685600"/>
              <a:gd name="connsiteY8" fmla="*/ 4903200 h 4903200"/>
              <a:gd name="connsiteX9" fmla="*/ 172960 w 2685600"/>
              <a:gd name="connsiteY9" fmla="*/ 4880933 h 4903200"/>
              <a:gd name="connsiteX10" fmla="*/ 0 w 2685600"/>
              <a:gd name="connsiteY10" fmla="*/ 4619840 h 4903200"/>
              <a:gd name="connsiteX11" fmla="*/ 0 w 2685600"/>
              <a:gd name="connsiteY11" fmla="*/ 283361 h 4903200"/>
              <a:gd name="connsiteX12" fmla="*/ 283189 w 2685600"/>
              <a:gd name="connsiteY12" fmla="*/ 0 h 49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85600" h="4903200">
                <a:moveTo>
                  <a:pt x="283189" y="0"/>
                </a:moveTo>
                <a:lnTo>
                  <a:pt x="2403886" y="0"/>
                </a:lnTo>
                <a:cubicBezTo>
                  <a:pt x="2540734" y="0"/>
                  <a:pt x="2654915" y="97134"/>
                  <a:pt x="2681321" y="226255"/>
                </a:cubicBezTo>
                <a:lnTo>
                  <a:pt x="2685600" y="268721"/>
                </a:lnTo>
                <a:lnTo>
                  <a:pt x="2685600" y="4634480"/>
                </a:lnTo>
                <a:lnTo>
                  <a:pt x="2681321" y="4676946"/>
                </a:lnTo>
                <a:cubicBezTo>
                  <a:pt x="2662459" y="4769176"/>
                  <a:pt x="2598815" y="4845085"/>
                  <a:pt x="2514115" y="4880933"/>
                </a:cubicBezTo>
                <a:lnTo>
                  <a:pt x="2403891" y="4903200"/>
                </a:lnTo>
                <a:lnTo>
                  <a:pt x="283184" y="4903200"/>
                </a:lnTo>
                <a:lnTo>
                  <a:pt x="172960" y="4880933"/>
                </a:lnTo>
                <a:cubicBezTo>
                  <a:pt x="71320" y="4837916"/>
                  <a:pt x="0" y="4737210"/>
                  <a:pt x="0" y="4619840"/>
                </a:cubicBezTo>
                <a:lnTo>
                  <a:pt x="0" y="283361"/>
                </a:lnTo>
                <a:cubicBezTo>
                  <a:pt x="0" y="126869"/>
                  <a:pt x="126791" y="0"/>
                  <a:pt x="283189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rtlCol="0" anchor="ctr" anchorCtr="0">
            <a:noAutofit/>
          </a:bodyPr>
          <a:lstStyle/>
          <a:p>
            <a:pPr lvl="5"/>
            <a:r>
              <a:rPr lang="en-GB" b="0" dirty="0">
                <a:solidFill>
                  <a:schemeClr val="bg1"/>
                </a:solidFill>
              </a:rPr>
              <a:t>1</a:t>
            </a:r>
          </a:p>
          <a:p>
            <a:pPr lvl="5"/>
            <a:r>
              <a:rPr lang="en-GB" b="0" dirty="0" err="1">
                <a:solidFill>
                  <a:schemeClr val="bg1"/>
                </a:solidFill>
              </a:rPr>
              <a:t>Entorno</a:t>
            </a:r>
            <a:r>
              <a:rPr lang="en-GB" b="0" dirty="0">
                <a:solidFill>
                  <a:schemeClr val="bg1"/>
                </a:solidFill>
              </a:rPr>
              <a:t> social</a:t>
            </a:r>
          </a:p>
          <a:p>
            <a:pPr lvl="5"/>
            <a:endParaRPr lang="en-GB" b="0" dirty="0">
              <a:solidFill>
                <a:schemeClr val="bg1"/>
              </a:solidFill>
            </a:endParaRPr>
          </a:p>
          <a:p>
            <a:pPr lvl="5"/>
            <a:endParaRPr lang="en-GB" b="0" dirty="0">
              <a:solidFill>
                <a:schemeClr val="bg1"/>
              </a:solidFill>
            </a:endParaRPr>
          </a:p>
          <a:p>
            <a:pPr lvl="5"/>
            <a:endParaRPr lang="en-GB" b="0" dirty="0">
              <a:solidFill>
                <a:schemeClr val="bg1"/>
              </a:solidFill>
            </a:endParaRPr>
          </a:p>
          <a:p>
            <a:pPr lvl="5"/>
            <a:endParaRPr lang="en-GB" b="0" dirty="0">
              <a:solidFill>
                <a:schemeClr val="bg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362A83E-2B94-6B91-32E8-8586BED16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¿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podemos</a:t>
            </a:r>
            <a:r>
              <a:rPr lang="en-GB" dirty="0"/>
              <a:t> </a:t>
            </a:r>
            <a:r>
              <a:rPr lang="en-GB" dirty="0" err="1"/>
              <a:t>esperar</a:t>
            </a:r>
            <a:r>
              <a:rPr lang="en-GB" dirty="0"/>
              <a:t>?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2EA1F21-5AD1-DF85-A500-F96762ACBCE4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3" name="Group 4">
              <a:extLst>
                <a:ext uri="{FF2B5EF4-FFF2-40B4-BE49-F238E27FC236}">
                  <a16:creationId xmlns:a16="http://schemas.microsoft.com/office/drawing/2014/main" id="{513E3057-9D12-7394-2D61-82B15968560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5" name="Freeform 5">
                <a:extLst>
                  <a:ext uri="{FF2B5EF4-FFF2-40B4-BE49-F238E27FC236}">
                    <a16:creationId xmlns:a16="http://schemas.microsoft.com/office/drawing/2014/main" id="{2526BBE8-0E91-17AB-D690-CF6DDD1395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" name="Freeform 6">
                <a:extLst>
                  <a:ext uri="{FF2B5EF4-FFF2-40B4-BE49-F238E27FC236}">
                    <a16:creationId xmlns:a16="http://schemas.microsoft.com/office/drawing/2014/main" id="{D54723EB-2CC1-174B-6A5C-F840AC7292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95AE6B95-2F23-9638-882D-922A98C6D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8">
                <a:extLst>
                  <a:ext uri="{FF2B5EF4-FFF2-40B4-BE49-F238E27FC236}">
                    <a16:creationId xmlns:a16="http://schemas.microsoft.com/office/drawing/2014/main" id="{6799C683-ED04-821A-8635-CBDBC4542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9">
                <a:extLst>
                  <a:ext uri="{FF2B5EF4-FFF2-40B4-BE49-F238E27FC236}">
                    <a16:creationId xmlns:a16="http://schemas.microsoft.com/office/drawing/2014/main" id="{373BC751-1969-58FB-0577-25D49E0E3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10">
                <a:extLst>
                  <a:ext uri="{FF2B5EF4-FFF2-40B4-BE49-F238E27FC236}">
                    <a16:creationId xmlns:a16="http://schemas.microsoft.com/office/drawing/2014/main" id="{EC6F649F-9B1D-372F-43A4-8D72E8C7F0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122DA87F-3790-04B6-EBA2-87049FAB2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1AD30678-4F92-1AA9-244B-2F025FE93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8AEC88C4-D32E-8971-051E-E61B88324F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8AC268BE-3EAC-D9AF-2805-7BF1E5BA4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F70E0438-5664-0D13-5984-666C8737F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2C7B2491-31AA-7274-B1C4-877E1B4643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F3EA3A4-F8AE-6F49-BB17-2C32AF227971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899637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0" grpId="0" animBg="1"/>
      <p:bldP spid="1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raphic 22">
            <a:extLst>
              <a:ext uri="{FF2B5EF4-FFF2-40B4-BE49-F238E27FC236}">
                <a16:creationId xmlns:a16="http://schemas.microsoft.com/office/drawing/2014/main" id="{C15244E1-BE3D-CF0C-9C41-72293393E4FE}"/>
              </a:ext>
            </a:extLst>
          </p:cNvPr>
          <p:cNvSpPr/>
          <p:nvPr/>
        </p:nvSpPr>
        <p:spPr>
          <a:xfrm>
            <a:off x="0" y="1976373"/>
            <a:ext cx="12192000" cy="3720591"/>
          </a:xfrm>
          <a:custGeom>
            <a:avLst/>
            <a:gdLst>
              <a:gd name="connsiteX0" fmla="*/ 12192000 w 12192000"/>
              <a:gd name="connsiteY0" fmla="*/ 3129572 h 3720591"/>
              <a:gd name="connsiteX1" fmla="*/ 11862041 w 12192000"/>
              <a:gd name="connsiteY1" fmla="*/ 3212592 h 3720591"/>
              <a:gd name="connsiteX2" fmla="*/ 11163541 w 12192000"/>
              <a:gd name="connsiteY2" fmla="*/ 2514219 h 3720591"/>
              <a:gd name="connsiteX3" fmla="*/ 11163541 w 12192000"/>
              <a:gd name="connsiteY3" fmla="*/ 1206373 h 3720591"/>
              <a:gd name="connsiteX4" fmla="*/ 9957041 w 12192000"/>
              <a:gd name="connsiteY4" fmla="*/ 0 h 3720591"/>
              <a:gd name="connsiteX5" fmla="*/ 8750541 w 12192000"/>
              <a:gd name="connsiteY5" fmla="*/ 1206373 h 3720591"/>
              <a:gd name="connsiteX6" fmla="*/ 8750541 w 12192000"/>
              <a:gd name="connsiteY6" fmla="*/ 2514219 h 3720591"/>
              <a:gd name="connsiteX7" fmla="*/ 8052041 w 12192000"/>
              <a:gd name="connsiteY7" fmla="*/ 3212592 h 3720591"/>
              <a:gd name="connsiteX8" fmla="*/ 7353541 w 12192000"/>
              <a:gd name="connsiteY8" fmla="*/ 2514219 h 3720591"/>
              <a:gd name="connsiteX9" fmla="*/ 7353541 w 12192000"/>
              <a:gd name="connsiteY9" fmla="*/ 1206373 h 3720591"/>
              <a:gd name="connsiteX10" fmla="*/ 6147054 w 12192000"/>
              <a:gd name="connsiteY10" fmla="*/ 0 h 3720591"/>
              <a:gd name="connsiteX11" fmla="*/ 4940554 w 12192000"/>
              <a:gd name="connsiteY11" fmla="*/ 1206373 h 3720591"/>
              <a:gd name="connsiteX12" fmla="*/ 4940554 w 12192000"/>
              <a:gd name="connsiteY12" fmla="*/ 2514219 h 3720591"/>
              <a:gd name="connsiteX13" fmla="*/ 4242054 w 12192000"/>
              <a:gd name="connsiteY13" fmla="*/ 3212592 h 3720591"/>
              <a:gd name="connsiteX14" fmla="*/ 3543554 w 12192000"/>
              <a:gd name="connsiteY14" fmla="*/ 2514219 h 3720591"/>
              <a:gd name="connsiteX15" fmla="*/ 3543554 w 12192000"/>
              <a:gd name="connsiteY15" fmla="*/ 1206373 h 3720591"/>
              <a:gd name="connsiteX16" fmla="*/ 2337054 w 12192000"/>
              <a:gd name="connsiteY16" fmla="*/ 0 h 3720591"/>
              <a:gd name="connsiteX17" fmla="*/ 1130554 w 12192000"/>
              <a:gd name="connsiteY17" fmla="*/ 1206373 h 3720591"/>
              <a:gd name="connsiteX18" fmla="*/ 1130554 w 12192000"/>
              <a:gd name="connsiteY18" fmla="*/ 2514219 h 3720591"/>
              <a:gd name="connsiteX19" fmla="*/ 432054 w 12192000"/>
              <a:gd name="connsiteY19" fmla="*/ 3212592 h 3720591"/>
              <a:gd name="connsiteX20" fmla="*/ 0 w 12192000"/>
              <a:gd name="connsiteY20" fmla="*/ 3062351 h 3720591"/>
              <a:gd name="connsiteX21" fmla="*/ 0 w 12192000"/>
              <a:gd name="connsiteY21" fmla="*/ 3640544 h 3720591"/>
              <a:gd name="connsiteX22" fmla="*/ 432054 w 12192000"/>
              <a:gd name="connsiteY22" fmla="*/ 3720592 h 3720591"/>
              <a:gd name="connsiteX23" fmla="*/ 1638554 w 12192000"/>
              <a:gd name="connsiteY23" fmla="*/ 2514219 h 3720591"/>
              <a:gd name="connsiteX24" fmla="*/ 1638554 w 12192000"/>
              <a:gd name="connsiteY24" fmla="*/ 1206373 h 3720591"/>
              <a:gd name="connsiteX25" fmla="*/ 2337054 w 12192000"/>
              <a:gd name="connsiteY25" fmla="*/ 508000 h 3720591"/>
              <a:gd name="connsiteX26" fmla="*/ 3035554 w 12192000"/>
              <a:gd name="connsiteY26" fmla="*/ 1206373 h 3720591"/>
              <a:gd name="connsiteX27" fmla="*/ 3035554 w 12192000"/>
              <a:gd name="connsiteY27" fmla="*/ 2514219 h 3720591"/>
              <a:gd name="connsiteX28" fmla="*/ 4242054 w 12192000"/>
              <a:gd name="connsiteY28" fmla="*/ 3720592 h 3720591"/>
              <a:gd name="connsiteX29" fmla="*/ 5448554 w 12192000"/>
              <a:gd name="connsiteY29" fmla="*/ 2514219 h 3720591"/>
              <a:gd name="connsiteX30" fmla="*/ 5448554 w 12192000"/>
              <a:gd name="connsiteY30" fmla="*/ 1206373 h 3720591"/>
              <a:gd name="connsiteX31" fmla="*/ 6147054 w 12192000"/>
              <a:gd name="connsiteY31" fmla="*/ 508000 h 3720591"/>
              <a:gd name="connsiteX32" fmla="*/ 6845541 w 12192000"/>
              <a:gd name="connsiteY32" fmla="*/ 1206373 h 3720591"/>
              <a:gd name="connsiteX33" fmla="*/ 6845541 w 12192000"/>
              <a:gd name="connsiteY33" fmla="*/ 2514219 h 3720591"/>
              <a:gd name="connsiteX34" fmla="*/ 8052041 w 12192000"/>
              <a:gd name="connsiteY34" fmla="*/ 3720592 h 3720591"/>
              <a:gd name="connsiteX35" fmla="*/ 9258541 w 12192000"/>
              <a:gd name="connsiteY35" fmla="*/ 2514219 h 3720591"/>
              <a:gd name="connsiteX36" fmla="*/ 9258541 w 12192000"/>
              <a:gd name="connsiteY36" fmla="*/ 1206373 h 3720591"/>
              <a:gd name="connsiteX37" fmla="*/ 9957041 w 12192000"/>
              <a:gd name="connsiteY37" fmla="*/ 508000 h 3720591"/>
              <a:gd name="connsiteX38" fmla="*/ 10655541 w 12192000"/>
              <a:gd name="connsiteY38" fmla="*/ 1206373 h 3720591"/>
              <a:gd name="connsiteX39" fmla="*/ 10655541 w 12192000"/>
              <a:gd name="connsiteY39" fmla="*/ 2514219 h 3720591"/>
              <a:gd name="connsiteX40" fmla="*/ 11862041 w 12192000"/>
              <a:gd name="connsiteY40" fmla="*/ 3720592 h 3720591"/>
              <a:gd name="connsiteX41" fmla="*/ 12192000 w 12192000"/>
              <a:gd name="connsiteY41" fmla="*/ 3674745 h 3720591"/>
              <a:gd name="connsiteX42" fmla="*/ 12192000 w 12192000"/>
              <a:gd name="connsiteY42" fmla="*/ 3129572 h 3720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3720591">
                <a:moveTo>
                  <a:pt x="12192000" y="3129572"/>
                </a:moveTo>
                <a:cubicBezTo>
                  <a:pt x="12093677" y="3182493"/>
                  <a:pt x="11981320" y="3212592"/>
                  <a:pt x="11862041" y="3212592"/>
                </a:cubicBezTo>
                <a:cubicBezTo>
                  <a:pt x="11476889" y="3212592"/>
                  <a:pt x="11163541" y="2899296"/>
                  <a:pt x="11163541" y="2514219"/>
                </a:cubicBezTo>
                <a:lnTo>
                  <a:pt x="11163541" y="1206373"/>
                </a:lnTo>
                <a:cubicBezTo>
                  <a:pt x="11163541" y="541172"/>
                  <a:pt x="10622305" y="0"/>
                  <a:pt x="9957041" y="0"/>
                </a:cubicBezTo>
                <a:cubicBezTo>
                  <a:pt x="9291790" y="0"/>
                  <a:pt x="8750541" y="541172"/>
                  <a:pt x="8750541" y="1206373"/>
                </a:cubicBezTo>
                <a:lnTo>
                  <a:pt x="8750541" y="2514219"/>
                </a:lnTo>
                <a:cubicBezTo>
                  <a:pt x="8750541" y="2899296"/>
                  <a:pt x="8437207" y="3212592"/>
                  <a:pt x="8052041" y="3212592"/>
                </a:cubicBezTo>
                <a:cubicBezTo>
                  <a:pt x="7666889" y="3212592"/>
                  <a:pt x="7353541" y="2899296"/>
                  <a:pt x="7353541" y="2514219"/>
                </a:cubicBezTo>
                <a:lnTo>
                  <a:pt x="7353541" y="1206373"/>
                </a:lnTo>
                <a:cubicBezTo>
                  <a:pt x="7353541" y="541172"/>
                  <a:pt x="6812305" y="0"/>
                  <a:pt x="6147054" y="0"/>
                </a:cubicBezTo>
                <a:cubicBezTo>
                  <a:pt x="5481790" y="0"/>
                  <a:pt x="4940554" y="541172"/>
                  <a:pt x="4940554" y="1206373"/>
                </a:cubicBezTo>
                <a:lnTo>
                  <a:pt x="4940554" y="2514219"/>
                </a:lnTo>
                <a:cubicBezTo>
                  <a:pt x="4940554" y="2899296"/>
                  <a:pt x="4627207" y="3212592"/>
                  <a:pt x="4242054" y="3212592"/>
                </a:cubicBezTo>
                <a:cubicBezTo>
                  <a:pt x="3856901" y="3212592"/>
                  <a:pt x="3543554" y="2899296"/>
                  <a:pt x="3543554" y="2514219"/>
                </a:cubicBezTo>
                <a:lnTo>
                  <a:pt x="3543554" y="1206373"/>
                </a:lnTo>
                <a:cubicBezTo>
                  <a:pt x="3543554" y="541172"/>
                  <a:pt x="3002318" y="0"/>
                  <a:pt x="2337054" y="0"/>
                </a:cubicBezTo>
                <a:cubicBezTo>
                  <a:pt x="1671790" y="0"/>
                  <a:pt x="1130554" y="541172"/>
                  <a:pt x="1130554" y="1206373"/>
                </a:cubicBezTo>
                <a:lnTo>
                  <a:pt x="1130554" y="2514219"/>
                </a:lnTo>
                <a:cubicBezTo>
                  <a:pt x="1130554" y="2899296"/>
                  <a:pt x="817208" y="3212592"/>
                  <a:pt x="432054" y="3212592"/>
                </a:cubicBezTo>
                <a:cubicBezTo>
                  <a:pt x="269020" y="3212592"/>
                  <a:pt x="118980" y="3156306"/>
                  <a:pt x="0" y="3062351"/>
                </a:cubicBezTo>
                <a:lnTo>
                  <a:pt x="0" y="3640544"/>
                </a:lnTo>
                <a:cubicBezTo>
                  <a:pt x="134210" y="3692195"/>
                  <a:pt x="279869" y="3720592"/>
                  <a:pt x="432054" y="3720592"/>
                </a:cubicBezTo>
                <a:cubicBezTo>
                  <a:pt x="1097322" y="3720592"/>
                  <a:pt x="1638554" y="3179420"/>
                  <a:pt x="1638554" y="2514219"/>
                </a:cubicBezTo>
                <a:lnTo>
                  <a:pt x="1638554" y="1206373"/>
                </a:lnTo>
                <a:cubicBezTo>
                  <a:pt x="1638554" y="821296"/>
                  <a:pt x="1951901" y="508000"/>
                  <a:pt x="2337054" y="508000"/>
                </a:cubicBezTo>
                <a:cubicBezTo>
                  <a:pt x="2722207" y="508000"/>
                  <a:pt x="3035554" y="821296"/>
                  <a:pt x="3035554" y="1206373"/>
                </a:cubicBezTo>
                <a:lnTo>
                  <a:pt x="3035554" y="2514219"/>
                </a:lnTo>
                <a:cubicBezTo>
                  <a:pt x="3035554" y="3179420"/>
                  <a:pt x="3576790" y="3720592"/>
                  <a:pt x="4242054" y="3720592"/>
                </a:cubicBezTo>
                <a:cubicBezTo>
                  <a:pt x="4907319" y="3720592"/>
                  <a:pt x="5448554" y="3179420"/>
                  <a:pt x="5448554" y="2514219"/>
                </a:cubicBezTo>
                <a:lnTo>
                  <a:pt x="5448554" y="1206373"/>
                </a:lnTo>
                <a:cubicBezTo>
                  <a:pt x="5448554" y="821296"/>
                  <a:pt x="5761888" y="508000"/>
                  <a:pt x="6147054" y="508000"/>
                </a:cubicBezTo>
                <a:cubicBezTo>
                  <a:pt x="6532207" y="508000"/>
                  <a:pt x="6845541" y="821296"/>
                  <a:pt x="6845541" y="1206373"/>
                </a:cubicBezTo>
                <a:lnTo>
                  <a:pt x="6845541" y="2514219"/>
                </a:lnTo>
                <a:cubicBezTo>
                  <a:pt x="6845541" y="3179420"/>
                  <a:pt x="7386790" y="3720592"/>
                  <a:pt x="8052041" y="3720592"/>
                </a:cubicBezTo>
                <a:cubicBezTo>
                  <a:pt x="8717305" y="3720592"/>
                  <a:pt x="9258541" y="3179420"/>
                  <a:pt x="9258541" y="2514219"/>
                </a:cubicBezTo>
                <a:lnTo>
                  <a:pt x="9258541" y="1206373"/>
                </a:lnTo>
                <a:cubicBezTo>
                  <a:pt x="9258541" y="821296"/>
                  <a:pt x="9571889" y="508000"/>
                  <a:pt x="9957041" y="508000"/>
                </a:cubicBezTo>
                <a:cubicBezTo>
                  <a:pt x="10342207" y="508000"/>
                  <a:pt x="10655541" y="821296"/>
                  <a:pt x="10655541" y="1206373"/>
                </a:cubicBezTo>
                <a:lnTo>
                  <a:pt x="10655541" y="2514219"/>
                </a:lnTo>
                <a:cubicBezTo>
                  <a:pt x="10655541" y="3179420"/>
                  <a:pt x="11196790" y="3720592"/>
                  <a:pt x="11862041" y="3720592"/>
                </a:cubicBezTo>
                <a:cubicBezTo>
                  <a:pt x="11976405" y="3720592"/>
                  <a:pt x="12087098" y="3704603"/>
                  <a:pt x="12192000" y="3674745"/>
                </a:cubicBezTo>
                <a:lnTo>
                  <a:pt x="12192000" y="3129572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cxnSp>
        <p:nvCxnSpPr>
          <p:cNvPr id="30" name="Gewinkelte Verbindung 52">
            <a:extLst>
              <a:ext uri="{FF2B5EF4-FFF2-40B4-BE49-F238E27FC236}">
                <a16:creationId xmlns:a16="http://schemas.microsoft.com/office/drawing/2014/main" id="{BA10F14E-A8E1-0737-3640-8B92871926E9}"/>
              </a:ext>
            </a:extLst>
          </p:cNvPr>
          <p:cNvCxnSpPr>
            <a:cxnSpLocks/>
          </p:cNvCxnSpPr>
          <p:nvPr/>
        </p:nvCxnSpPr>
        <p:spPr>
          <a:xfrm rot="16200000" flipV="1">
            <a:off x="9326247" y="4785754"/>
            <a:ext cx="1006879" cy="268807"/>
          </a:xfrm>
          <a:prstGeom prst="bentConnector2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winkelte Verbindung 35">
            <a:extLst>
              <a:ext uri="{FF2B5EF4-FFF2-40B4-BE49-F238E27FC236}">
                <a16:creationId xmlns:a16="http://schemas.microsoft.com/office/drawing/2014/main" id="{E1BAFD5E-F6FA-436F-7E16-A13557717F43}"/>
              </a:ext>
            </a:extLst>
          </p:cNvPr>
          <p:cNvCxnSpPr>
            <a:cxnSpLocks/>
          </p:cNvCxnSpPr>
          <p:nvPr/>
        </p:nvCxnSpPr>
        <p:spPr>
          <a:xfrm flipV="1">
            <a:off x="4041438" y="2108844"/>
            <a:ext cx="127247" cy="1574351"/>
          </a:xfrm>
          <a:prstGeom prst="bentConnector2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40">
            <a:extLst>
              <a:ext uri="{FF2B5EF4-FFF2-40B4-BE49-F238E27FC236}">
                <a16:creationId xmlns:a16="http://schemas.microsoft.com/office/drawing/2014/main" id="{77CC23CA-8EEF-AF2B-B9B9-CC797B431237}"/>
              </a:ext>
            </a:extLst>
          </p:cNvPr>
          <p:cNvCxnSpPr>
            <a:cxnSpLocks/>
          </p:cNvCxnSpPr>
          <p:nvPr/>
        </p:nvCxnSpPr>
        <p:spPr>
          <a:xfrm rot="10800000">
            <a:off x="4262840" y="5723643"/>
            <a:ext cx="1074774" cy="207411"/>
          </a:xfrm>
          <a:prstGeom prst="bentConnector2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46">
            <a:extLst>
              <a:ext uri="{FF2B5EF4-FFF2-40B4-BE49-F238E27FC236}">
                <a16:creationId xmlns:a16="http://schemas.microsoft.com/office/drawing/2014/main" id="{90E76BCA-C95B-17D2-9FA0-17F8ED479507}"/>
              </a:ext>
            </a:extLst>
          </p:cNvPr>
          <p:cNvCxnSpPr>
            <a:cxnSpLocks/>
          </p:cNvCxnSpPr>
          <p:nvPr/>
        </p:nvCxnSpPr>
        <p:spPr>
          <a:xfrm rot="5400000">
            <a:off x="7563307" y="2409809"/>
            <a:ext cx="759700" cy="265487"/>
          </a:xfrm>
          <a:prstGeom prst="bentConnector2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9F0EF2C8-49B3-AFCD-BD45-46E913AE96B4}"/>
              </a:ext>
            </a:extLst>
          </p:cNvPr>
          <p:cNvSpPr txBox="1"/>
          <p:nvPr/>
        </p:nvSpPr>
        <p:spPr>
          <a:xfrm>
            <a:off x="3595385" y="1460673"/>
            <a:ext cx="1742229" cy="6855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800" dirty="0" err="1"/>
              <a:t>Descubrimeinto</a:t>
            </a:r>
            <a:r>
              <a:rPr lang="en-GB" sz="1800" dirty="0"/>
              <a:t> de </a:t>
            </a:r>
            <a:r>
              <a:rPr lang="en-GB" sz="1800" dirty="0" err="1"/>
              <a:t>Fármacos</a:t>
            </a:r>
            <a:endParaRPr lang="en-GB" sz="1800" b="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949CA98-476B-8BBB-C376-63E823B8971E}"/>
              </a:ext>
            </a:extLst>
          </p:cNvPr>
          <p:cNvSpPr txBox="1"/>
          <p:nvPr/>
        </p:nvSpPr>
        <p:spPr>
          <a:xfrm>
            <a:off x="7111243" y="1471473"/>
            <a:ext cx="1742229" cy="6855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800" dirty="0"/>
              <a:t>Regeneración de partes</a:t>
            </a:r>
            <a:endParaRPr lang="en-GB" sz="1800" b="0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57283A6-D104-5F21-9E1D-7D3255251990}"/>
              </a:ext>
            </a:extLst>
          </p:cNvPr>
          <p:cNvSpPr txBox="1"/>
          <p:nvPr/>
        </p:nvSpPr>
        <p:spPr>
          <a:xfrm>
            <a:off x="5326113" y="5593473"/>
            <a:ext cx="1742229" cy="6855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800" dirty="0" err="1"/>
              <a:t>Cambios</a:t>
            </a:r>
            <a:r>
              <a:rPr lang="en-GB" sz="1800" dirty="0"/>
              <a:t> </a:t>
            </a:r>
            <a:r>
              <a:rPr lang="en-GB" sz="1800" dirty="0" err="1"/>
              <a:t>en</a:t>
            </a:r>
            <a:r>
              <a:rPr lang="en-GB" sz="1800" dirty="0"/>
              <a:t> </a:t>
            </a:r>
            <a:r>
              <a:rPr lang="en-GB" sz="1800" dirty="0" err="1"/>
              <a:t>Procesos</a:t>
            </a:r>
            <a:r>
              <a:rPr lang="en-GB" sz="1800" dirty="0"/>
              <a:t> </a:t>
            </a:r>
            <a:r>
              <a:rPr lang="en-GB" sz="1800" dirty="0" err="1"/>
              <a:t>Celulares</a:t>
            </a:r>
            <a:endParaRPr lang="en-GB" sz="1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B0D01C4-1F87-6216-6614-1FA6A22CD29C}"/>
              </a:ext>
            </a:extLst>
          </p:cNvPr>
          <p:cNvSpPr txBox="1"/>
          <p:nvPr/>
        </p:nvSpPr>
        <p:spPr>
          <a:xfrm>
            <a:off x="9234459" y="5593473"/>
            <a:ext cx="1742229" cy="6855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1800" dirty="0"/>
              <a:t>Anti - aging</a:t>
            </a:r>
            <a:endParaRPr lang="en-GB" sz="18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96B5FE-95F2-9FEC-3415-E0F316A1234B}"/>
              </a:ext>
            </a:extLst>
          </p:cNvPr>
          <p:cNvSpPr/>
          <p:nvPr/>
        </p:nvSpPr>
        <p:spPr>
          <a:xfrm>
            <a:off x="0" y="-880085"/>
            <a:ext cx="12192000" cy="546225"/>
          </a:xfrm>
          <a:prstGeom prst="rect">
            <a:avLst/>
          </a:prstGeom>
          <a:solidFill>
            <a:srgbClr val="00B0F0"/>
          </a:solidFill>
          <a:ln w="635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bg1"/>
                </a:solidFill>
              </a:rPr>
              <a:t>Titeltext löschen, sonstigen Text + Elemente bitte stehen lassen, komplett nach EE -&gt; 1x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D030A6-7E12-58DA-5C01-E783D431B3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 err="1"/>
              <a:t>Tendencias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5B53C66-8470-0CB4-B583-E1BD6F162EF8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805CC60-09CE-F4D3-0494-86CB8213E6D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7" name="Freeform 5">
                <a:extLst>
                  <a:ext uri="{FF2B5EF4-FFF2-40B4-BE49-F238E27FC236}">
                    <a16:creationId xmlns:a16="http://schemas.microsoft.com/office/drawing/2014/main" id="{BDDC4EEC-84D3-F2F0-F014-1CAD92D3D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94D320BD-9422-3235-FC78-FC98EC5E27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Freeform 7">
                <a:extLst>
                  <a:ext uri="{FF2B5EF4-FFF2-40B4-BE49-F238E27FC236}">
                    <a16:creationId xmlns:a16="http://schemas.microsoft.com/office/drawing/2014/main" id="{56663663-BBF4-55D8-636D-270F7DC1D2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Freeform 8">
                <a:extLst>
                  <a:ext uri="{FF2B5EF4-FFF2-40B4-BE49-F238E27FC236}">
                    <a16:creationId xmlns:a16="http://schemas.microsoft.com/office/drawing/2014/main" id="{FAB8FF05-590B-43AA-5AC4-4E43886B1C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Freeform 9">
                <a:extLst>
                  <a:ext uri="{FF2B5EF4-FFF2-40B4-BE49-F238E27FC236}">
                    <a16:creationId xmlns:a16="http://schemas.microsoft.com/office/drawing/2014/main" id="{C0EA3DF8-2CCF-2A03-3EF8-961DD64AC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Freeform 10">
                <a:extLst>
                  <a:ext uri="{FF2B5EF4-FFF2-40B4-BE49-F238E27FC236}">
                    <a16:creationId xmlns:a16="http://schemas.microsoft.com/office/drawing/2014/main" id="{371075FB-C0FB-4C57-96FE-899B92989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11">
                <a:extLst>
                  <a:ext uri="{FF2B5EF4-FFF2-40B4-BE49-F238E27FC236}">
                    <a16:creationId xmlns:a16="http://schemas.microsoft.com/office/drawing/2014/main" id="{2C1BA0EF-C40E-4A61-3CE8-7756CF18E5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12">
                <a:extLst>
                  <a:ext uri="{FF2B5EF4-FFF2-40B4-BE49-F238E27FC236}">
                    <a16:creationId xmlns:a16="http://schemas.microsoft.com/office/drawing/2014/main" id="{6450A4E5-490B-5A45-6C35-5284C553F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13">
                <a:extLst>
                  <a:ext uri="{FF2B5EF4-FFF2-40B4-BE49-F238E27FC236}">
                    <a16:creationId xmlns:a16="http://schemas.microsoft.com/office/drawing/2014/main" id="{A3CA51E0-5E18-E325-D425-C6978304F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14">
                <a:extLst>
                  <a:ext uri="{FF2B5EF4-FFF2-40B4-BE49-F238E27FC236}">
                    <a16:creationId xmlns:a16="http://schemas.microsoft.com/office/drawing/2014/main" id="{103E7745-8808-AA56-7728-802EA879E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15">
                <a:extLst>
                  <a:ext uri="{FF2B5EF4-FFF2-40B4-BE49-F238E27FC236}">
                    <a16:creationId xmlns:a16="http://schemas.microsoft.com/office/drawing/2014/main" id="{B95EB468-83A4-F767-9FF7-EDD6ABB9EC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16">
                <a:extLst>
                  <a:ext uri="{FF2B5EF4-FFF2-40B4-BE49-F238E27FC236}">
                    <a16:creationId xmlns:a16="http://schemas.microsoft.com/office/drawing/2014/main" id="{488764D6-E351-79BC-7246-0DF358918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096F180-8903-D711-6002-C9ABFB84C3FF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  <p:pic>
        <p:nvPicPr>
          <p:cNvPr id="20" name="Grafik 13">
            <a:extLst>
              <a:ext uri="{FF2B5EF4-FFF2-40B4-BE49-F238E27FC236}">
                <a16:creationId xmlns:a16="http://schemas.microsoft.com/office/drawing/2014/main" id="{452E992A-C196-F038-4E31-AC64D078C3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92379" y="2988693"/>
            <a:ext cx="1499511" cy="1499511"/>
          </a:xfrm>
          <a:prstGeom prst="rect">
            <a:avLst/>
          </a:prstGeom>
        </p:spPr>
      </p:pic>
      <p:pic>
        <p:nvPicPr>
          <p:cNvPr id="21" name="Grafik 19">
            <a:extLst>
              <a:ext uri="{FF2B5EF4-FFF2-40B4-BE49-F238E27FC236}">
                <a16:creationId xmlns:a16="http://schemas.microsoft.com/office/drawing/2014/main" id="{3F48D661-2C60-FCB3-6C83-92A352838F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493803" y="4327838"/>
            <a:ext cx="1499511" cy="1499511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50A4DB9B-B27C-CE9C-3E79-049ED91AE6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443646" y="2146263"/>
            <a:ext cx="1499511" cy="1499511"/>
          </a:xfrm>
          <a:prstGeom prst="rect">
            <a:avLst/>
          </a:prstGeom>
        </p:spPr>
      </p:pic>
      <p:pic>
        <p:nvPicPr>
          <p:cNvPr id="23" name="Grafik 23">
            <a:extLst>
              <a:ext uri="{FF2B5EF4-FFF2-40B4-BE49-F238E27FC236}">
                <a16:creationId xmlns:a16="http://schemas.microsoft.com/office/drawing/2014/main" id="{39164B10-94F9-E7E4-A996-7BDE713C53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386158" y="3900661"/>
            <a:ext cx="1309125" cy="130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453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DD9353-B0F5-BCDF-F03A-A798A97A8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59322589-B90A-C85B-7BF7-06E0AA153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¿</a:t>
            </a:r>
            <a:r>
              <a:rPr lang="en-GB" dirty="0" err="1"/>
              <a:t>Cómo</a:t>
            </a:r>
            <a:r>
              <a:rPr lang="en-GB" dirty="0"/>
              <a:t> </a:t>
            </a:r>
            <a:r>
              <a:rPr lang="en-GB" dirty="0" err="1"/>
              <a:t>afecta</a:t>
            </a:r>
            <a:r>
              <a:rPr lang="en-GB" dirty="0"/>
              <a:t> a las </a:t>
            </a:r>
            <a:r>
              <a:rPr lang="en-GB" dirty="0" err="1"/>
              <a:t>aseguradoras</a:t>
            </a:r>
            <a:r>
              <a:rPr lang="en-GB" dirty="0"/>
              <a:t>?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DFCC74C-7F81-C071-7E80-51DA595CD4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0F3412-00EB-454F-952B-1EB5D3D69307}" type="slidenum">
              <a:rPr lang="en-GB" noProof="0" smtClean="0"/>
              <a:pPr/>
              <a:t>18</a:t>
            </a:fld>
            <a:endParaRPr lang="en-GB" noProof="0" dirty="0"/>
          </a:p>
        </p:txBody>
      </p:sp>
      <p:sp>
        <p:nvSpPr>
          <p:cNvPr id="23" name="TextBox 20">
            <a:extLst>
              <a:ext uri="{FF2B5EF4-FFF2-40B4-BE49-F238E27FC236}">
                <a16:creationId xmlns:a16="http://schemas.microsoft.com/office/drawing/2014/main" id="{9E19BD0E-D80C-941C-94B8-A083671E2459}"/>
              </a:ext>
            </a:extLst>
          </p:cNvPr>
          <p:cNvSpPr txBox="1">
            <a:spLocks noGrp="1" noRot="1" noChangeAspect="1" noMove="1" noResize="1" noEditPoints="1" noAdjustHandles="1" noChangeArrowheads="1" noChangeShapeType="1"/>
          </p:cNvSpPr>
          <p:nvPr/>
        </p:nvSpPr>
        <p:spPr>
          <a:xfrm>
            <a:off x="288000" y="1384212"/>
            <a:ext cx="5669047" cy="4901873"/>
          </a:xfrm>
          <a:custGeom>
            <a:avLst/>
            <a:gdLst>
              <a:gd name="connsiteX0" fmla="*/ 267582 w 5669047"/>
              <a:gd name="connsiteY0" fmla="*/ 0 h 4901873"/>
              <a:gd name="connsiteX1" fmla="*/ 5401855 w 5669047"/>
              <a:gd name="connsiteY1" fmla="*/ 0 h 4901873"/>
              <a:gd name="connsiteX2" fmla="*/ 5451317 w 5669047"/>
              <a:gd name="connsiteY2" fmla="*/ 4986 h 4901873"/>
              <a:gd name="connsiteX3" fmla="*/ 5664815 w 5669047"/>
              <a:gd name="connsiteY3" fmla="*/ 218485 h 4901873"/>
              <a:gd name="connsiteX4" fmla="*/ 5669047 w 5669047"/>
              <a:gd name="connsiteY4" fmla="*/ 260467 h 4901873"/>
              <a:gd name="connsiteX5" fmla="*/ 5669047 w 5669047"/>
              <a:gd name="connsiteY5" fmla="*/ 4642145 h 4901873"/>
              <a:gd name="connsiteX6" fmla="*/ 5664815 w 5669047"/>
              <a:gd name="connsiteY6" fmla="*/ 4684127 h 4901873"/>
              <a:gd name="connsiteX7" fmla="*/ 5444590 w 5669047"/>
              <a:gd name="connsiteY7" fmla="*/ 4898914 h 4901873"/>
              <a:gd name="connsiteX8" fmla="*/ 5411051 w 5669047"/>
              <a:gd name="connsiteY8" fmla="*/ 4901873 h 4901873"/>
              <a:gd name="connsiteX9" fmla="*/ 260260 w 5669047"/>
              <a:gd name="connsiteY9" fmla="*/ 4901873 h 4901873"/>
              <a:gd name="connsiteX10" fmla="*/ 218120 w 5669047"/>
              <a:gd name="connsiteY10" fmla="*/ 4897625 h 4901873"/>
              <a:gd name="connsiteX11" fmla="*/ 4621 w 5669047"/>
              <a:gd name="connsiteY11" fmla="*/ 4684127 h 4901873"/>
              <a:gd name="connsiteX12" fmla="*/ 0 w 5669047"/>
              <a:gd name="connsiteY12" fmla="*/ 4638285 h 4901873"/>
              <a:gd name="connsiteX13" fmla="*/ 0 w 5669047"/>
              <a:gd name="connsiteY13" fmla="*/ 262979 h 4901873"/>
              <a:gd name="connsiteX14" fmla="*/ 3333 w 5669047"/>
              <a:gd name="connsiteY14" fmla="*/ 225212 h 4901873"/>
              <a:gd name="connsiteX15" fmla="*/ 218119 w 5669047"/>
              <a:gd name="connsiteY15" fmla="*/ 4986 h 490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669047" h="4901873">
                <a:moveTo>
                  <a:pt x="267582" y="0"/>
                </a:moveTo>
                <a:lnTo>
                  <a:pt x="5401855" y="0"/>
                </a:lnTo>
                <a:lnTo>
                  <a:pt x="5451317" y="4986"/>
                </a:lnTo>
                <a:cubicBezTo>
                  <a:pt x="5558481" y="26915"/>
                  <a:pt x="5642886" y="111321"/>
                  <a:pt x="5664815" y="218485"/>
                </a:cubicBezTo>
                <a:lnTo>
                  <a:pt x="5669047" y="260467"/>
                </a:lnTo>
                <a:lnTo>
                  <a:pt x="5669047" y="4642145"/>
                </a:lnTo>
                <a:lnTo>
                  <a:pt x="5664815" y="4684127"/>
                </a:lnTo>
                <a:cubicBezTo>
                  <a:pt x="5642429" y="4793523"/>
                  <a:pt x="5554937" y="4879203"/>
                  <a:pt x="5444590" y="4898914"/>
                </a:cubicBezTo>
                <a:lnTo>
                  <a:pt x="5411051" y="4901873"/>
                </a:lnTo>
                <a:lnTo>
                  <a:pt x="260260" y="4901873"/>
                </a:lnTo>
                <a:lnTo>
                  <a:pt x="218120" y="4897625"/>
                </a:lnTo>
                <a:cubicBezTo>
                  <a:pt x="110956" y="4875696"/>
                  <a:pt x="26550" y="4791291"/>
                  <a:pt x="4621" y="4684127"/>
                </a:cubicBezTo>
                <a:lnTo>
                  <a:pt x="0" y="4638285"/>
                </a:lnTo>
                <a:lnTo>
                  <a:pt x="0" y="262979"/>
                </a:lnTo>
                <a:lnTo>
                  <a:pt x="3333" y="225212"/>
                </a:lnTo>
                <a:cubicBezTo>
                  <a:pt x="23043" y="114865"/>
                  <a:pt x="108723" y="27372"/>
                  <a:pt x="218119" y="4986"/>
                </a:cubicBezTo>
                <a:close/>
              </a:path>
            </a:pathLst>
          </a:custGeom>
          <a:noFill/>
          <a:ln w="25400">
            <a:solidFill>
              <a:schemeClr val="tx2"/>
            </a:solidFill>
          </a:ln>
        </p:spPr>
        <p:txBody>
          <a:bodyPr wrap="square" lIns="144000" tIns="144000" rIns="144000" bIns="144000" rtlCol="0" anchor="t" anchorCtr="0">
            <a:noAutofit/>
          </a:bodyPr>
          <a:lstStyle/>
          <a:p>
            <a:pPr lvl="6"/>
            <a:endParaRPr lang="en-GB" dirty="0">
              <a:latin typeface="+mj-lt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D5330495-5EEA-71E9-A383-6B455BD810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0630" y="2147503"/>
            <a:ext cx="1499511" cy="1499511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453E948D-06C1-077F-CDFD-6D10112170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60630" y="4069134"/>
            <a:ext cx="1499511" cy="149951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B5CB9BFD-4066-E507-BACB-81A65D3146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3531312" y="2147503"/>
            <a:ext cx="1499511" cy="1499511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9316C8BD-511B-2FE0-ED3F-AECAD3033751}"/>
              </a:ext>
            </a:extLst>
          </p:cNvPr>
          <p:cNvSpPr txBox="1"/>
          <p:nvPr/>
        </p:nvSpPr>
        <p:spPr>
          <a:xfrm>
            <a:off x="603748" y="3634556"/>
            <a:ext cx="24601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Seguros de Vida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53DCA1F-F085-C5D2-940C-E8FAED451705}"/>
              </a:ext>
            </a:extLst>
          </p:cNvPr>
          <p:cNvSpPr txBox="1"/>
          <p:nvPr/>
        </p:nvSpPr>
        <p:spPr>
          <a:xfrm>
            <a:off x="3321548" y="3634556"/>
            <a:ext cx="24601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 err="1"/>
              <a:t>Manejo</a:t>
            </a:r>
            <a:r>
              <a:rPr lang="en-GB" dirty="0"/>
              <a:t> de Capital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185C00DB-170F-8532-55DF-23C1F4408BAF}"/>
              </a:ext>
            </a:extLst>
          </p:cNvPr>
          <p:cNvSpPr txBox="1"/>
          <p:nvPr/>
        </p:nvSpPr>
        <p:spPr>
          <a:xfrm>
            <a:off x="549607" y="5520772"/>
            <a:ext cx="24601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Seguros de Salud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543D72C4-7298-9FBE-FFA0-AABE9E17FDCF}"/>
              </a:ext>
            </a:extLst>
          </p:cNvPr>
          <p:cNvSpPr txBox="1"/>
          <p:nvPr/>
        </p:nvSpPr>
        <p:spPr>
          <a:xfrm>
            <a:off x="3063931" y="5520772"/>
            <a:ext cx="24601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 err="1"/>
              <a:t>Pensiones</a:t>
            </a:r>
            <a:endParaRPr lang="en-GB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7FBD28C6-73B6-E33B-D87F-9AD1F8E83ABB}"/>
              </a:ext>
            </a:extLst>
          </p:cNvPr>
          <p:cNvSpPr txBox="1"/>
          <p:nvPr/>
        </p:nvSpPr>
        <p:spPr>
          <a:xfrm>
            <a:off x="6667886" y="3634556"/>
            <a:ext cx="24601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</a:rPr>
              <a:t>Placeholder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FCD8C37B-7948-1E53-6430-2ECC7F24BD84}"/>
              </a:ext>
            </a:extLst>
          </p:cNvPr>
          <p:cNvSpPr txBox="1"/>
          <p:nvPr/>
        </p:nvSpPr>
        <p:spPr>
          <a:xfrm>
            <a:off x="9065186" y="3634556"/>
            <a:ext cx="24601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</a:rPr>
              <a:t>Placeholder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5B801ED-0B3D-9E11-69BC-C326D0A3B460}"/>
              </a:ext>
            </a:extLst>
          </p:cNvPr>
          <p:cNvSpPr txBox="1"/>
          <p:nvPr/>
        </p:nvSpPr>
        <p:spPr>
          <a:xfrm>
            <a:off x="6641946" y="5520772"/>
            <a:ext cx="24601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</a:rPr>
              <a:t>Placeholder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96FC7338-74F7-B424-5632-05095D5DCCD9}"/>
              </a:ext>
            </a:extLst>
          </p:cNvPr>
          <p:cNvSpPr txBox="1"/>
          <p:nvPr/>
        </p:nvSpPr>
        <p:spPr>
          <a:xfrm>
            <a:off x="9128069" y="5520772"/>
            <a:ext cx="24601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</a:rPr>
              <a:t>Placeholder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2417F329-1E28-2895-4553-CBD4F490D2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3531312" y="4069134"/>
            <a:ext cx="1499511" cy="1499511"/>
          </a:xfrm>
          <a:prstGeom prst="rect">
            <a:avLst/>
          </a:prstGeom>
        </p:spPr>
      </p:pic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E1CDC9EC-A6B9-6996-4EEC-25C555825173}"/>
              </a:ext>
            </a:extLst>
          </p:cNvPr>
          <p:cNvSpPr/>
          <p:nvPr/>
        </p:nvSpPr>
        <p:spPr>
          <a:xfrm rot="5400000">
            <a:off x="6201480" y="3482444"/>
            <a:ext cx="2453286" cy="612000"/>
          </a:xfrm>
          <a:prstGeom prst="triangl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8EF44A-5E39-B15A-8E40-69AD6E1BF268}"/>
              </a:ext>
            </a:extLst>
          </p:cNvPr>
          <p:cNvSpPr txBox="1"/>
          <p:nvPr/>
        </p:nvSpPr>
        <p:spPr>
          <a:xfrm>
            <a:off x="8188360" y="3579118"/>
            <a:ext cx="2714201" cy="726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2800" dirty="0" err="1"/>
              <a:t>Redefinición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667993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31" grpId="0"/>
      <p:bldP spid="2" grpId="0" animBg="1"/>
      <p:bldP spid="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4328E-9C5B-4A0F-9594-ECFCD1CA01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1A87EBD-55BF-9F6E-8AC0-0FC7825B11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05" imgH="303" progId="TCLayout.ActiveDocument.1">
                  <p:embed/>
                </p:oleObj>
              </mc:Choice>
              <mc:Fallback>
                <p:oleObj name="think-cell Folie" r:id="rId14" imgW="305" imgH="30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A87EBD-55BF-9F6E-8AC0-0FC7825B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8E7E68AE-C77A-B82C-DC31-B72D4848F358}"/>
              </a:ext>
            </a:extLst>
          </p:cNvPr>
          <p:cNvGrpSpPr/>
          <p:nvPr/>
        </p:nvGrpSpPr>
        <p:grpSpPr>
          <a:xfrm>
            <a:off x="4035455" y="1879175"/>
            <a:ext cx="3816883" cy="3816883"/>
            <a:chOff x="4174917" y="1728531"/>
            <a:chExt cx="3816883" cy="3816883"/>
          </a:xfrm>
          <a:solidFill>
            <a:schemeClr val="tx2"/>
          </a:solidFill>
        </p:grpSpPr>
        <p:grpSp>
          <p:nvGrpSpPr>
            <p:cNvPr id="11" name="Gruppieren 4">
              <a:extLst>
                <a:ext uri="{FF2B5EF4-FFF2-40B4-BE49-F238E27FC236}">
                  <a16:creationId xmlns:a16="http://schemas.microsoft.com/office/drawing/2014/main" id="{6AAC3775-D650-DF04-8A91-00594D30653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174917" y="1728531"/>
              <a:ext cx="3816883" cy="3816883"/>
              <a:chOff x="6869113" y="2197100"/>
              <a:chExt cx="1147762" cy="1147763"/>
            </a:xfrm>
            <a:grpFill/>
          </p:grpSpPr>
          <p:sp>
            <p:nvSpPr>
              <p:cNvPr id="12" name="Freeform 48">
                <a:extLst>
                  <a:ext uri="{FF2B5EF4-FFF2-40B4-BE49-F238E27FC236}">
                    <a16:creationId xmlns:a16="http://schemas.microsoft.com/office/drawing/2014/main" id="{F27EA023-DAC0-845E-294B-1368BBBB7D6C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7119938" y="2919413"/>
                <a:ext cx="646112" cy="425450"/>
              </a:xfrm>
              <a:custGeom>
                <a:avLst/>
                <a:gdLst>
                  <a:gd name="T0" fmla="*/ 97 w 264"/>
                  <a:gd name="T1" fmla="*/ 1 h 174"/>
                  <a:gd name="T2" fmla="*/ 97 w 264"/>
                  <a:gd name="T3" fmla="*/ 0 h 174"/>
                  <a:gd name="T4" fmla="*/ 0 w 264"/>
                  <a:gd name="T5" fmla="*/ 133 h 174"/>
                  <a:gd name="T6" fmla="*/ 132 w 264"/>
                  <a:gd name="T7" fmla="*/ 174 h 174"/>
                  <a:gd name="T8" fmla="*/ 264 w 264"/>
                  <a:gd name="T9" fmla="*/ 133 h 174"/>
                  <a:gd name="T10" fmla="*/ 167 w 264"/>
                  <a:gd name="T11" fmla="*/ 0 h 174"/>
                  <a:gd name="T12" fmla="*/ 97 w 264"/>
                  <a:gd name="T13" fmla="*/ 1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4" h="174">
                    <a:moveTo>
                      <a:pt x="97" y="1"/>
                    </a:moveTo>
                    <a:cubicBezTo>
                      <a:pt x="97" y="1"/>
                      <a:pt x="97" y="0"/>
                      <a:pt x="97" y="0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38" y="159"/>
                      <a:pt x="83" y="174"/>
                      <a:pt x="132" y="174"/>
                    </a:cubicBezTo>
                    <a:cubicBezTo>
                      <a:pt x="181" y="174"/>
                      <a:pt x="226" y="159"/>
                      <a:pt x="264" y="133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46" y="13"/>
                      <a:pt x="119" y="14"/>
                      <a:pt x="9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3" name="Freeform 49">
                <a:extLst>
                  <a:ext uri="{FF2B5EF4-FFF2-40B4-BE49-F238E27FC236}">
                    <a16:creationId xmlns:a16="http://schemas.microsoft.com/office/drawing/2014/main" id="{C0E7BE47-1E99-74B4-C8CD-C37FB974242E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7558088" y="2608263"/>
                <a:ext cx="458787" cy="617537"/>
              </a:xfrm>
              <a:custGeom>
                <a:avLst/>
                <a:gdLst>
                  <a:gd name="T0" fmla="*/ 187 w 187"/>
                  <a:gd name="T1" fmla="*/ 66 h 251"/>
                  <a:gd name="T2" fmla="*/ 178 w 187"/>
                  <a:gd name="T3" fmla="*/ 0 h 251"/>
                  <a:gd name="T4" fmla="*/ 22 w 187"/>
                  <a:gd name="T5" fmla="*/ 51 h 251"/>
                  <a:gd name="T6" fmla="*/ 14 w 187"/>
                  <a:gd name="T7" fmla="*/ 101 h 251"/>
                  <a:gd name="T8" fmla="*/ 0 w 187"/>
                  <a:gd name="T9" fmla="*/ 118 h 251"/>
                  <a:gd name="T10" fmla="*/ 96 w 187"/>
                  <a:gd name="T11" fmla="*/ 251 h 251"/>
                  <a:gd name="T12" fmla="*/ 187 w 187"/>
                  <a:gd name="T13" fmla="*/ 66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251">
                    <a:moveTo>
                      <a:pt x="187" y="66"/>
                    </a:moveTo>
                    <a:cubicBezTo>
                      <a:pt x="187" y="43"/>
                      <a:pt x="184" y="21"/>
                      <a:pt x="178" y="0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5" y="67"/>
                      <a:pt x="23" y="85"/>
                      <a:pt x="14" y="101"/>
                    </a:cubicBezTo>
                    <a:cubicBezTo>
                      <a:pt x="10" y="107"/>
                      <a:pt x="5" y="113"/>
                      <a:pt x="0" y="118"/>
                    </a:cubicBezTo>
                    <a:cubicBezTo>
                      <a:pt x="96" y="251"/>
                      <a:pt x="96" y="251"/>
                      <a:pt x="96" y="251"/>
                    </a:cubicBezTo>
                    <a:cubicBezTo>
                      <a:pt x="152" y="208"/>
                      <a:pt x="187" y="141"/>
                      <a:pt x="187" y="66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" name="Freeform 50">
                <a:extLst>
                  <a:ext uri="{FF2B5EF4-FFF2-40B4-BE49-F238E27FC236}">
                    <a16:creationId xmlns:a16="http://schemas.microsoft.com/office/drawing/2014/main" id="{CC8BB682-39D0-DB93-2388-8A2078FA7BDE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869113" y="2608263"/>
                <a:ext cx="458787" cy="617537"/>
              </a:xfrm>
              <a:custGeom>
                <a:avLst/>
                <a:gdLst>
                  <a:gd name="T0" fmla="*/ 165 w 187"/>
                  <a:gd name="T1" fmla="*/ 51 h 251"/>
                  <a:gd name="T2" fmla="*/ 9 w 187"/>
                  <a:gd name="T3" fmla="*/ 0 h 251"/>
                  <a:gd name="T4" fmla="*/ 0 w 187"/>
                  <a:gd name="T5" fmla="*/ 66 h 251"/>
                  <a:gd name="T6" fmla="*/ 90 w 187"/>
                  <a:gd name="T7" fmla="*/ 251 h 251"/>
                  <a:gd name="T8" fmla="*/ 187 w 187"/>
                  <a:gd name="T9" fmla="*/ 118 h 251"/>
                  <a:gd name="T10" fmla="*/ 165 w 187"/>
                  <a:gd name="T11" fmla="*/ 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7" h="251">
                    <a:moveTo>
                      <a:pt x="165" y="51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3" y="21"/>
                      <a:pt x="0" y="43"/>
                      <a:pt x="0" y="66"/>
                    </a:cubicBezTo>
                    <a:cubicBezTo>
                      <a:pt x="0" y="141"/>
                      <a:pt x="35" y="208"/>
                      <a:pt x="90" y="251"/>
                    </a:cubicBezTo>
                    <a:cubicBezTo>
                      <a:pt x="187" y="118"/>
                      <a:pt x="187" y="118"/>
                      <a:pt x="187" y="118"/>
                    </a:cubicBezTo>
                    <a:cubicBezTo>
                      <a:pt x="168" y="101"/>
                      <a:pt x="160" y="75"/>
                      <a:pt x="165" y="51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" name="Freeform 51">
                <a:extLst>
                  <a:ext uri="{FF2B5EF4-FFF2-40B4-BE49-F238E27FC236}">
                    <a16:creationId xmlns:a16="http://schemas.microsoft.com/office/drawing/2014/main" id="{D0DB8B92-07BC-0996-565B-AABC253B7A3D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459663" y="2197100"/>
                <a:ext cx="522287" cy="503238"/>
              </a:xfrm>
              <a:custGeom>
                <a:avLst/>
                <a:gdLst>
                  <a:gd name="T0" fmla="*/ 28 w 213"/>
                  <a:gd name="T1" fmla="*/ 173 h 205"/>
                  <a:gd name="T2" fmla="*/ 57 w 213"/>
                  <a:gd name="T3" fmla="*/ 205 h 205"/>
                  <a:gd name="T4" fmla="*/ 213 w 213"/>
                  <a:gd name="T5" fmla="*/ 154 h 205"/>
                  <a:gd name="T6" fmla="*/ 0 w 213"/>
                  <a:gd name="T7" fmla="*/ 0 h 205"/>
                  <a:gd name="T8" fmla="*/ 0 w 213"/>
                  <a:gd name="T9" fmla="*/ 164 h 205"/>
                  <a:gd name="T10" fmla="*/ 28 w 213"/>
                  <a:gd name="T11" fmla="*/ 173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3" h="205">
                    <a:moveTo>
                      <a:pt x="28" y="173"/>
                    </a:moveTo>
                    <a:cubicBezTo>
                      <a:pt x="41" y="181"/>
                      <a:pt x="51" y="192"/>
                      <a:pt x="57" y="205"/>
                    </a:cubicBezTo>
                    <a:cubicBezTo>
                      <a:pt x="213" y="154"/>
                      <a:pt x="213" y="154"/>
                      <a:pt x="213" y="154"/>
                    </a:cubicBezTo>
                    <a:cubicBezTo>
                      <a:pt x="181" y="66"/>
                      <a:pt x="98" y="3"/>
                      <a:pt x="0" y="0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10" y="165"/>
                      <a:pt x="19" y="168"/>
                      <a:pt x="28" y="173"/>
                    </a:cubicBez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" name="Freeform 52">
                <a:extLst>
                  <a:ext uri="{FF2B5EF4-FFF2-40B4-BE49-F238E27FC236}">
                    <a16:creationId xmlns:a16="http://schemas.microsoft.com/office/drawing/2014/main" id="{8E3DFB8C-3289-DCEB-5307-2B5CD062F55F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6904038" y="2197100"/>
                <a:ext cx="522287" cy="503238"/>
              </a:xfrm>
              <a:custGeom>
                <a:avLst/>
                <a:gdLst>
                  <a:gd name="T0" fmla="*/ 159 w 213"/>
                  <a:gd name="T1" fmla="*/ 199 h 205"/>
                  <a:gd name="T2" fmla="*/ 213 w 213"/>
                  <a:gd name="T3" fmla="*/ 164 h 205"/>
                  <a:gd name="T4" fmla="*/ 213 w 213"/>
                  <a:gd name="T5" fmla="*/ 0 h 205"/>
                  <a:gd name="T6" fmla="*/ 0 w 213"/>
                  <a:gd name="T7" fmla="*/ 154 h 205"/>
                  <a:gd name="T8" fmla="*/ 156 w 213"/>
                  <a:gd name="T9" fmla="*/ 205 h 205"/>
                  <a:gd name="T10" fmla="*/ 159 w 213"/>
                  <a:gd name="T11" fmla="*/ 199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3" h="205">
                    <a:moveTo>
                      <a:pt x="159" y="199"/>
                    </a:moveTo>
                    <a:cubicBezTo>
                      <a:pt x="171" y="178"/>
                      <a:pt x="191" y="166"/>
                      <a:pt x="213" y="164"/>
                    </a:cubicBezTo>
                    <a:cubicBezTo>
                      <a:pt x="213" y="0"/>
                      <a:pt x="213" y="0"/>
                      <a:pt x="213" y="0"/>
                    </a:cubicBezTo>
                    <a:cubicBezTo>
                      <a:pt x="114" y="3"/>
                      <a:pt x="31" y="66"/>
                      <a:pt x="0" y="154"/>
                    </a:cubicBezTo>
                    <a:cubicBezTo>
                      <a:pt x="156" y="205"/>
                      <a:pt x="156" y="205"/>
                      <a:pt x="156" y="205"/>
                    </a:cubicBezTo>
                    <a:cubicBezTo>
                      <a:pt x="157" y="203"/>
                      <a:pt x="158" y="201"/>
                      <a:pt x="159" y="199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7" name="Freeform: Shape 1">
              <a:extLst>
                <a:ext uri="{FF2B5EF4-FFF2-40B4-BE49-F238E27FC236}">
                  <a16:creationId xmlns:a16="http://schemas.microsoft.com/office/drawing/2014/main" id="{F3B87EEF-C765-FF8A-BCFE-13BA067D585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2679624">
              <a:off x="5716072" y="3269687"/>
              <a:ext cx="734572" cy="734570"/>
            </a:xfrm>
            <a:custGeom>
              <a:avLst/>
              <a:gdLst>
                <a:gd name="connsiteX0" fmla="*/ 219076 w 704852"/>
                <a:gd name="connsiteY0" fmla="*/ 185737 h 704850"/>
                <a:gd name="connsiteX1" fmla="*/ 187326 w 704852"/>
                <a:gd name="connsiteY1" fmla="*/ 219075 h 704850"/>
                <a:gd name="connsiteX2" fmla="*/ 320676 w 704852"/>
                <a:gd name="connsiteY2" fmla="*/ 352425 h 704850"/>
                <a:gd name="connsiteX3" fmla="*/ 187326 w 704852"/>
                <a:gd name="connsiteY3" fmla="*/ 485775 h 704850"/>
                <a:gd name="connsiteX4" fmla="*/ 219076 w 704852"/>
                <a:gd name="connsiteY4" fmla="*/ 517525 h 704850"/>
                <a:gd name="connsiteX5" fmla="*/ 352426 w 704852"/>
                <a:gd name="connsiteY5" fmla="*/ 384175 h 704850"/>
                <a:gd name="connsiteX6" fmla="*/ 485777 w 704852"/>
                <a:gd name="connsiteY6" fmla="*/ 517525 h 704850"/>
                <a:gd name="connsiteX7" fmla="*/ 519114 w 704852"/>
                <a:gd name="connsiteY7" fmla="*/ 485775 h 704850"/>
                <a:gd name="connsiteX8" fmla="*/ 384176 w 704852"/>
                <a:gd name="connsiteY8" fmla="*/ 352425 h 704850"/>
                <a:gd name="connsiteX9" fmla="*/ 519114 w 704852"/>
                <a:gd name="connsiteY9" fmla="*/ 219075 h 704850"/>
                <a:gd name="connsiteX10" fmla="*/ 485777 w 704852"/>
                <a:gd name="connsiteY10" fmla="*/ 185737 h 704850"/>
                <a:gd name="connsiteX11" fmla="*/ 352426 w 704852"/>
                <a:gd name="connsiteY11" fmla="*/ 319087 h 704850"/>
                <a:gd name="connsiteX12" fmla="*/ 352426 w 704852"/>
                <a:gd name="connsiteY12" fmla="*/ 0 h 704850"/>
                <a:gd name="connsiteX13" fmla="*/ 704852 w 704852"/>
                <a:gd name="connsiteY13" fmla="*/ 352425 h 704850"/>
                <a:gd name="connsiteX14" fmla="*/ 352426 w 704852"/>
                <a:gd name="connsiteY14" fmla="*/ 704850 h 704850"/>
                <a:gd name="connsiteX15" fmla="*/ 0 w 704852"/>
                <a:gd name="connsiteY15" fmla="*/ 352425 h 704850"/>
                <a:gd name="connsiteX16" fmla="*/ 352426 w 704852"/>
                <a:gd name="connsiteY16" fmla="*/ 0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04852" h="704850">
                  <a:moveTo>
                    <a:pt x="219076" y="185737"/>
                  </a:moveTo>
                  <a:lnTo>
                    <a:pt x="187326" y="219075"/>
                  </a:lnTo>
                  <a:lnTo>
                    <a:pt x="320676" y="352425"/>
                  </a:lnTo>
                  <a:lnTo>
                    <a:pt x="187326" y="485775"/>
                  </a:lnTo>
                  <a:lnTo>
                    <a:pt x="219076" y="517525"/>
                  </a:lnTo>
                  <a:lnTo>
                    <a:pt x="352426" y="384175"/>
                  </a:lnTo>
                  <a:lnTo>
                    <a:pt x="485777" y="517525"/>
                  </a:lnTo>
                  <a:lnTo>
                    <a:pt x="519114" y="485775"/>
                  </a:lnTo>
                  <a:lnTo>
                    <a:pt x="384176" y="352425"/>
                  </a:lnTo>
                  <a:lnTo>
                    <a:pt x="519114" y="219075"/>
                  </a:lnTo>
                  <a:lnTo>
                    <a:pt x="485777" y="185737"/>
                  </a:lnTo>
                  <a:lnTo>
                    <a:pt x="352426" y="319087"/>
                  </a:lnTo>
                  <a:close/>
                  <a:moveTo>
                    <a:pt x="352426" y="0"/>
                  </a:moveTo>
                  <a:cubicBezTo>
                    <a:pt x="547066" y="0"/>
                    <a:pt x="704852" y="157786"/>
                    <a:pt x="704852" y="352425"/>
                  </a:cubicBezTo>
                  <a:cubicBezTo>
                    <a:pt x="704852" y="547064"/>
                    <a:pt x="547066" y="704850"/>
                    <a:pt x="352426" y="704850"/>
                  </a:cubicBezTo>
                  <a:cubicBezTo>
                    <a:pt x="157786" y="704850"/>
                    <a:pt x="0" y="547064"/>
                    <a:pt x="0" y="352425"/>
                  </a:cubicBezTo>
                  <a:cubicBezTo>
                    <a:pt x="0" y="157786"/>
                    <a:pt x="157786" y="0"/>
                    <a:pt x="35242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37" tIns="45719" rIns="91437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3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399" b="0" i="0" u="none" strike="noStrike" kern="1200" cap="none" spc="0" normalizeH="0" baseline="0" noProof="0" dirty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C6CA280-9BAA-F45E-3F63-EBBBD08ED148}"/>
              </a:ext>
            </a:extLst>
          </p:cNvPr>
          <p:cNvCxnSpPr>
            <a:cxnSpLocks/>
          </p:cNvCxnSpPr>
          <p:nvPr/>
        </p:nvCxnSpPr>
        <p:spPr>
          <a:xfrm>
            <a:off x="7449038" y="2098418"/>
            <a:ext cx="1054884" cy="0"/>
          </a:xfrm>
          <a:prstGeom prst="line">
            <a:avLst/>
          </a:prstGeom>
          <a:ln w="25400">
            <a:solidFill>
              <a:schemeClr val="accent1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116">
            <a:extLst>
              <a:ext uri="{FF2B5EF4-FFF2-40B4-BE49-F238E27FC236}">
                <a16:creationId xmlns:a16="http://schemas.microsoft.com/office/drawing/2014/main" id="{B5208D14-C4E7-171E-F93F-37FFF740A639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84527" y="3847382"/>
            <a:ext cx="3214485" cy="63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333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667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000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334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SzPct val="100000"/>
              <a:buFont typeface="Symbol" panose="05050102010706020507" pitchFamily="18" charset="2"/>
              <a:buNone/>
              <a:tabLst>
                <a:tab pos="1257300" algn="l"/>
              </a:tabLst>
              <a:defRPr/>
            </a:pPr>
            <a:r>
              <a:rPr lang="en-GB" sz="1800" b="1" kern="0" dirty="0">
                <a:solidFill>
                  <a:schemeClr val="accent1"/>
                </a:solidFill>
                <a:latin typeface="Archivo" pitchFamily="2" charset="0"/>
              </a:rPr>
              <a:t>Impacto </a:t>
            </a: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SzPct val="100000"/>
              <a:buFont typeface="Symbol" panose="05050102010706020507" pitchFamily="18" charset="2"/>
              <a:buNone/>
              <a:tabLst>
                <a:tab pos="1257300" algn="l"/>
              </a:tabLst>
              <a:defRPr/>
            </a:pPr>
            <a:r>
              <a:rPr lang="en-GB" sz="1800" b="1" kern="0" dirty="0">
                <a:solidFill>
                  <a:schemeClr val="accent1"/>
                </a:solidFill>
                <a:latin typeface="Archivo" pitchFamily="2" charset="0"/>
              </a:rPr>
              <a:t>Financier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chivo" pitchFamily="2" charset="0"/>
              <a:ea typeface="+mn-ea"/>
              <a:cs typeface="Arial" pitchFamily="34" charset="0"/>
            </a:endParaRPr>
          </a:p>
        </p:txBody>
      </p:sp>
      <p:sp>
        <p:nvSpPr>
          <p:cNvPr id="57" name="Rectangle 116">
            <a:extLst>
              <a:ext uri="{FF2B5EF4-FFF2-40B4-BE49-F238E27FC236}">
                <a16:creationId xmlns:a16="http://schemas.microsoft.com/office/drawing/2014/main" id="{564D0986-562B-D2F6-C953-176FBFD6B60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688590" y="4024353"/>
            <a:ext cx="321448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333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667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000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334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SzPct val="100000"/>
              <a:buFont typeface="Symbol" panose="05050102010706020507" pitchFamily="18" charset="2"/>
              <a:buNone/>
              <a:tabLst>
                <a:tab pos="1257300" algn="l"/>
              </a:tabLst>
              <a:defRPr/>
            </a:pPr>
            <a:r>
              <a:rPr lang="en-GB" sz="1800" b="1" kern="0" dirty="0" err="1">
                <a:solidFill>
                  <a:schemeClr val="accent1"/>
                </a:solidFill>
                <a:latin typeface="Archivo" pitchFamily="2" charset="0"/>
              </a:rPr>
              <a:t>Cambios</a:t>
            </a:r>
            <a:r>
              <a:rPr lang="en-GB" sz="1800" b="1" kern="0" dirty="0">
                <a:solidFill>
                  <a:schemeClr val="accent1"/>
                </a:solidFill>
                <a:latin typeface="Archivo" pitchFamily="2" charset="0"/>
              </a:rPr>
              <a:t> </a:t>
            </a:r>
            <a:r>
              <a:rPr lang="en-GB" sz="1800" b="1" kern="0" dirty="0" err="1">
                <a:solidFill>
                  <a:schemeClr val="accent1"/>
                </a:solidFill>
                <a:latin typeface="Archivo" pitchFamily="2" charset="0"/>
              </a:rPr>
              <a:t>laboral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chivo" pitchFamily="2" charset="0"/>
              <a:ea typeface="+mn-ea"/>
              <a:cs typeface="Arial" pitchFamily="34" charset="0"/>
            </a:endParaRPr>
          </a:p>
        </p:txBody>
      </p:sp>
      <p:sp>
        <p:nvSpPr>
          <p:cNvPr id="58" name="Rectangle 116">
            <a:extLst>
              <a:ext uri="{FF2B5EF4-FFF2-40B4-BE49-F238E27FC236}">
                <a16:creationId xmlns:a16="http://schemas.microsoft.com/office/drawing/2014/main" id="{D107B5E4-77F8-17F7-FE59-977BDEBB715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449038" y="5706642"/>
            <a:ext cx="321448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333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667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000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334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SzPct val="100000"/>
              <a:buFont typeface="Symbol" panose="05050102010706020507" pitchFamily="18" charset="2"/>
              <a:buNone/>
              <a:tabLst>
                <a:tab pos="1257300" algn="l"/>
              </a:tabLst>
              <a:defRPr/>
            </a:pPr>
            <a:r>
              <a:rPr lang="en-GB" sz="1800" b="1" kern="0" dirty="0" err="1">
                <a:solidFill>
                  <a:schemeClr val="accent4"/>
                </a:solidFill>
                <a:latin typeface="Archivo" pitchFamily="2" charset="0"/>
              </a:rPr>
              <a:t>Proacción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chivo" pitchFamily="2" charset="0"/>
              <a:ea typeface="+mn-ea"/>
              <a:cs typeface="Arial" pitchFamily="34" charset="0"/>
            </a:endParaRPr>
          </a:p>
          <a:p>
            <a:pPr marL="0" lvl="1" indent="0">
              <a:spcAft>
                <a:spcPts val="600"/>
              </a:spcAft>
              <a:buClr>
                <a:srgbClr val="003C70"/>
              </a:buClr>
              <a:buSzPct val="100000"/>
              <a:buNone/>
              <a:defRPr/>
            </a:pPr>
            <a:r>
              <a:rPr lang="en-GB" sz="1400" dirty="0">
                <a:solidFill>
                  <a:srgbClr val="003C70"/>
                </a:solidFill>
                <a:latin typeface="Archivo"/>
              </a:rPr>
              <a:t>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3C70"/>
              </a:solidFill>
              <a:effectLst/>
              <a:uLnTx/>
              <a:uFillTx/>
              <a:latin typeface="Archivo"/>
              <a:ea typeface="+mn-ea"/>
              <a:cs typeface="Arial" pitchFamily="34" charset="0"/>
            </a:endParaRPr>
          </a:p>
        </p:txBody>
      </p:sp>
      <p:sp>
        <p:nvSpPr>
          <p:cNvPr id="59" name="Rectangle 116">
            <a:extLst>
              <a:ext uri="{FF2B5EF4-FFF2-40B4-BE49-F238E27FC236}">
                <a16:creationId xmlns:a16="http://schemas.microsoft.com/office/drawing/2014/main" id="{0869B5AB-39E5-319D-9D2B-30EC582F895F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5256" y="1845419"/>
            <a:ext cx="3214484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333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667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000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334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SzPct val="100000"/>
              <a:buFont typeface="Symbol" panose="05050102010706020507" pitchFamily="18" charset="2"/>
              <a:buNone/>
              <a:tabLst>
                <a:tab pos="1257300" algn="l"/>
              </a:tabLst>
              <a:defRPr/>
            </a:pPr>
            <a:r>
              <a:rPr lang="en-GB" sz="1800" b="1" kern="0" dirty="0" err="1">
                <a:solidFill>
                  <a:schemeClr val="accent1"/>
                </a:solidFill>
                <a:latin typeface="Archivo" pitchFamily="2" charset="0"/>
              </a:rPr>
              <a:t>Análisis</a:t>
            </a:r>
            <a:r>
              <a:rPr lang="en-GB" sz="1800" b="1" kern="0" dirty="0">
                <a:solidFill>
                  <a:schemeClr val="accent1"/>
                </a:solidFill>
                <a:latin typeface="Archivo" pitchFamily="2" charset="0"/>
              </a:rPr>
              <a:t> </a:t>
            </a: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SzPct val="100000"/>
              <a:buFont typeface="Symbol" panose="05050102010706020507" pitchFamily="18" charset="2"/>
              <a:buNone/>
              <a:tabLst>
                <a:tab pos="1257300" algn="l"/>
              </a:tabLst>
              <a:defRPr/>
            </a:pPr>
            <a:r>
              <a:rPr lang="en-GB" sz="1800" b="1" kern="0" dirty="0">
                <a:solidFill>
                  <a:schemeClr val="accent1"/>
                </a:solidFill>
                <a:latin typeface="Archivo" pitchFamily="2" charset="0"/>
              </a:rPr>
              <a:t>De</a:t>
            </a: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SzPct val="100000"/>
              <a:buFont typeface="Symbol" panose="05050102010706020507" pitchFamily="18" charset="2"/>
              <a:buNone/>
              <a:tabLst>
                <a:tab pos="1257300" algn="l"/>
              </a:tabLst>
              <a:defRPr/>
            </a:pPr>
            <a:r>
              <a:rPr lang="en-GB" sz="1800" b="1" kern="0" dirty="0">
                <a:solidFill>
                  <a:schemeClr val="accent1"/>
                </a:solidFill>
                <a:latin typeface="Archivo" pitchFamily="2" charset="0"/>
              </a:rPr>
              <a:t> Dato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chivo" pitchFamily="2" charset="0"/>
              <a:ea typeface="+mn-ea"/>
              <a:cs typeface="Arial" pitchFamily="34" charset="0"/>
            </a:endParaRPr>
          </a:p>
        </p:txBody>
      </p:sp>
      <p:sp>
        <p:nvSpPr>
          <p:cNvPr id="60" name="Rectangle 116">
            <a:extLst>
              <a:ext uri="{FF2B5EF4-FFF2-40B4-BE49-F238E27FC236}">
                <a16:creationId xmlns:a16="http://schemas.microsoft.com/office/drawing/2014/main" id="{5AF9610A-39C7-AB42-97AC-C9B3F14C4D75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736195" y="1907415"/>
            <a:ext cx="3214485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333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667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000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334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SzPct val="100000"/>
              <a:buFont typeface="Symbol" panose="05050102010706020507" pitchFamily="18" charset="2"/>
              <a:buNone/>
              <a:tabLst>
                <a:tab pos="1257300" algn="l"/>
              </a:tabLst>
              <a:defRPr/>
            </a:pPr>
            <a:r>
              <a:rPr lang="en-GB" sz="1800" b="1" kern="0" dirty="0" err="1">
                <a:solidFill>
                  <a:schemeClr val="accent1"/>
                </a:solidFill>
                <a:latin typeface="Archivo" pitchFamily="2" charset="0"/>
              </a:rPr>
              <a:t>Prevención</a:t>
            </a:r>
            <a:endParaRPr lang="en-GB" sz="1800" b="1" kern="0" dirty="0">
              <a:solidFill>
                <a:schemeClr val="accent1"/>
              </a:solidFill>
              <a:latin typeface="Archivo" pitchFamily="2" charset="0"/>
            </a:endParaRP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SzPct val="100000"/>
              <a:buFont typeface="Symbol" panose="05050102010706020507" pitchFamily="18" charset="2"/>
              <a:buNone/>
              <a:tabLst>
                <a:tab pos="1257300" algn="l"/>
              </a:tabLst>
              <a:defRPr/>
            </a:pPr>
            <a:r>
              <a:rPr lang="en-GB" sz="1800" b="1" kern="0" dirty="0">
                <a:solidFill>
                  <a:schemeClr val="accent1"/>
                </a:solidFill>
                <a:latin typeface="Archivo" pitchFamily="2" charset="0"/>
              </a:rPr>
              <a:t>y</a:t>
            </a: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SzPct val="100000"/>
              <a:buFont typeface="Symbol" panose="05050102010706020507" pitchFamily="18" charset="2"/>
              <a:buNone/>
              <a:tabLst>
                <a:tab pos="1257300" algn="l"/>
              </a:tabLst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chivo" pitchFamily="2" charset="0"/>
                <a:ea typeface="+mn-ea"/>
                <a:cs typeface="Arial" pitchFamily="34" charset="0"/>
              </a:rPr>
              <a:t>Wellness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F30667AA-5E26-CB0E-2634-9920FB403662}"/>
              </a:ext>
            </a:extLst>
          </p:cNvPr>
          <p:cNvCxnSpPr>
            <a:cxnSpLocks/>
          </p:cNvCxnSpPr>
          <p:nvPr/>
        </p:nvCxnSpPr>
        <p:spPr>
          <a:xfrm flipH="1">
            <a:off x="2480163" y="2282064"/>
            <a:ext cx="1873683" cy="0"/>
          </a:xfrm>
          <a:prstGeom prst="line">
            <a:avLst/>
          </a:prstGeom>
          <a:ln w="25400">
            <a:solidFill>
              <a:schemeClr val="accent1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3E616E51-2CFF-5CD8-8D14-12A9B2848A41}"/>
              </a:ext>
            </a:extLst>
          </p:cNvPr>
          <p:cNvCxnSpPr>
            <a:cxnSpLocks/>
          </p:cNvCxnSpPr>
          <p:nvPr/>
        </p:nvCxnSpPr>
        <p:spPr>
          <a:xfrm>
            <a:off x="7976480" y="4150729"/>
            <a:ext cx="527442" cy="0"/>
          </a:xfrm>
          <a:prstGeom prst="line">
            <a:avLst/>
          </a:prstGeom>
          <a:ln w="25400">
            <a:solidFill>
              <a:schemeClr val="accent1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2CB12B01-D51A-AA1F-C530-6A405E963EA7}"/>
              </a:ext>
            </a:extLst>
          </p:cNvPr>
          <p:cNvCxnSpPr>
            <a:cxnSpLocks/>
          </p:cNvCxnSpPr>
          <p:nvPr/>
        </p:nvCxnSpPr>
        <p:spPr>
          <a:xfrm flipH="1">
            <a:off x="2480163" y="4150729"/>
            <a:ext cx="1362487" cy="0"/>
          </a:xfrm>
          <a:prstGeom prst="line">
            <a:avLst/>
          </a:prstGeom>
          <a:ln w="25400">
            <a:solidFill>
              <a:schemeClr val="accent1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44D28CB9-215A-00ED-99A8-1B49E5E93209}"/>
              </a:ext>
            </a:extLst>
          </p:cNvPr>
          <p:cNvCxnSpPr>
            <a:cxnSpLocks/>
          </p:cNvCxnSpPr>
          <p:nvPr/>
        </p:nvCxnSpPr>
        <p:spPr>
          <a:xfrm>
            <a:off x="6138155" y="5827129"/>
            <a:ext cx="1000485" cy="0"/>
          </a:xfrm>
          <a:prstGeom prst="line">
            <a:avLst/>
          </a:prstGeom>
          <a:ln w="25400">
            <a:solidFill>
              <a:schemeClr val="accent1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6A1F4737-5371-525A-2390-D57C5B95FD3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4693692" y="2129462"/>
            <a:ext cx="1075819" cy="107581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BADB83D-C173-C809-811B-5D3A5FD8C90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6184017" y="2282064"/>
            <a:ext cx="973805" cy="97380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64CC180-2187-0240-8883-FDFF8B2B066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4224011" y="3626424"/>
            <a:ext cx="1072859" cy="1072859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0C7B0BA-CE0B-582B-C5A3-30CED276085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5347623" y="4458984"/>
            <a:ext cx="1118247" cy="1118247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61BD8AD4-7B8D-4E1B-E514-B31AC8E6CF3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/>
          <a:stretch/>
        </p:blipFill>
        <p:spPr>
          <a:xfrm>
            <a:off x="6576079" y="3581935"/>
            <a:ext cx="1070930" cy="107093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019116A-14AB-98A2-7AE5-500018ABE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El </a:t>
            </a:r>
            <a:r>
              <a:rPr lang="en-GB" dirty="0" err="1"/>
              <a:t>reto</a:t>
            </a:r>
            <a:r>
              <a:rPr lang="en-GB" dirty="0"/>
              <a:t> para las </a:t>
            </a:r>
            <a:r>
              <a:rPr lang="en-GB" dirty="0" err="1"/>
              <a:t>aseguradoras</a:t>
            </a:r>
            <a:r>
              <a:rPr lang="en-GB" dirty="0"/>
              <a:t>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5EAE201-55D7-2BCA-7B6A-004ABD331EE9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3" name="Group 4">
              <a:extLst>
                <a:ext uri="{FF2B5EF4-FFF2-40B4-BE49-F238E27FC236}">
                  <a16:creationId xmlns:a16="http://schemas.microsoft.com/office/drawing/2014/main" id="{2931B7C7-501E-0BDF-BB33-425A63B6D2D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3F012D1A-EF84-A067-AD35-DFBFAC875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22433D60-0D2A-85D4-B999-8767CBFCC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CDDAE168-7799-A35A-92F5-E5DCBFD27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" name="Freeform 8">
                <a:extLst>
                  <a:ext uri="{FF2B5EF4-FFF2-40B4-BE49-F238E27FC236}">
                    <a16:creationId xmlns:a16="http://schemas.microsoft.com/office/drawing/2014/main" id="{043365AC-34D3-4233-5E56-5E25A14A6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id="{5F69DCDA-90C6-B212-C9FB-64E5320E0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10">
                <a:extLst>
                  <a:ext uri="{FF2B5EF4-FFF2-40B4-BE49-F238E27FC236}">
                    <a16:creationId xmlns:a16="http://schemas.microsoft.com/office/drawing/2014/main" id="{443C3017-5746-89CA-F616-74200C471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6" name="Freeform 11">
                <a:extLst>
                  <a:ext uri="{FF2B5EF4-FFF2-40B4-BE49-F238E27FC236}">
                    <a16:creationId xmlns:a16="http://schemas.microsoft.com/office/drawing/2014/main" id="{F6424E0A-575C-E26E-144B-963F3AFCEA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9863D656-C688-B784-9A7E-6335826940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01205BB0-17AC-0526-0578-6F3405F72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9" name="Freeform 14">
                <a:extLst>
                  <a:ext uri="{FF2B5EF4-FFF2-40B4-BE49-F238E27FC236}">
                    <a16:creationId xmlns:a16="http://schemas.microsoft.com/office/drawing/2014/main" id="{26E9E77C-C1D1-2F34-B6B9-12F288F23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AA6C244A-341C-EAAE-D380-1F8CC2245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id="{6FDC1085-1B36-2C44-9E56-8715B4D881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371DBF2-156C-6F60-99A2-16E402A0CAA1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6921813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57" grpId="0"/>
      <p:bldP spid="58" grpId="0"/>
      <p:bldP spid="59" grpId="0"/>
      <p:bldP spid="6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6C1F07-C4A5-E950-71C3-84542F921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 err="1"/>
              <a:t>Comencemos</a:t>
            </a:r>
            <a:r>
              <a:rPr lang="en-GB" dirty="0"/>
              <a:t> con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pregunta</a:t>
            </a:r>
            <a:r>
              <a:rPr lang="en-GB" dirty="0"/>
              <a:t>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99DA29-3E6C-F2E3-17A0-766CB7A55654}"/>
              </a:ext>
            </a:extLst>
          </p:cNvPr>
          <p:cNvSpPr txBox="1"/>
          <p:nvPr/>
        </p:nvSpPr>
        <p:spPr>
          <a:xfrm>
            <a:off x="1910861" y="2497015"/>
            <a:ext cx="7807569" cy="114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2800" dirty="0"/>
              <a:t>¿Hasta a </a:t>
            </a:r>
            <a:r>
              <a:rPr lang="en-GB" sz="2800" dirty="0" err="1"/>
              <a:t>qué</a:t>
            </a:r>
            <a:r>
              <a:rPr lang="en-GB" sz="2800" dirty="0"/>
              <a:t> </a:t>
            </a:r>
            <a:r>
              <a:rPr lang="en-GB" sz="2800" dirty="0" err="1"/>
              <a:t>edad</a:t>
            </a:r>
            <a:r>
              <a:rPr lang="en-GB" sz="2800" dirty="0"/>
              <a:t> </a:t>
            </a:r>
            <a:r>
              <a:rPr lang="en-GB" sz="2800" dirty="0" err="1"/>
              <a:t>te</a:t>
            </a:r>
            <a:r>
              <a:rPr lang="en-GB" sz="2800" dirty="0"/>
              <a:t> </a:t>
            </a:r>
          </a:p>
          <a:p>
            <a:pPr algn="ctr"/>
            <a:r>
              <a:rPr lang="en-GB" sz="2800" dirty="0" err="1"/>
              <a:t>gustaría</a:t>
            </a:r>
            <a:r>
              <a:rPr lang="en-GB" sz="2800" dirty="0"/>
              <a:t> </a:t>
            </a:r>
            <a:r>
              <a:rPr lang="en-GB" sz="2800" dirty="0" err="1"/>
              <a:t>vivir</a:t>
            </a:r>
            <a:r>
              <a:rPr lang="en-GB" sz="2800" dirty="0"/>
              <a:t>?</a:t>
            </a:r>
          </a:p>
          <a:p>
            <a:pPr algn="ctr"/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9702791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hart Placeholder 11"/>
          <p:cNvGraphicFramePr>
            <a:graphicFrameLocks/>
          </p:cNvGraphicFramePr>
          <p:nvPr/>
        </p:nvGraphicFramePr>
        <p:xfrm>
          <a:off x="627452" y="1733599"/>
          <a:ext cx="5071915" cy="3359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Chart Placeholder 12"/>
          <p:cNvGraphicFramePr>
            <a:graphicFrameLocks/>
          </p:cNvGraphicFramePr>
          <p:nvPr/>
        </p:nvGraphicFramePr>
        <p:xfrm>
          <a:off x="6134461" y="1733599"/>
          <a:ext cx="5186213" cy="3359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30 </a:t>
            </a:r>
            <a:r>
              <a:rPr lang="en-GB" dirty="0" err="1"/>
              <a:t>años</a:t>
            </a:r>
            <a:r>
              <a:rPr lang="en-GB" dirty="0"/>
              <a:t> de </a:t>
            </a:r>
            <a:r>
              <a:rPr lang="en-GB" dirty="0" err="1"/>
              <a:t>experiencia</a:t>
            </a:r>
            <a:endParaRPr lang="en-GB" dirty="0"/>
          </a:p>
        </p:txBody>
      </p:sp>
      <p:sp>
        <p:nvSpPr>
          <p:cNvPr id="3" name="Text Placeholder 2"/>
          <p:cNvSpPr txBox="1">
            <a:spLocks/>
          </p:cNvSpPr>
          <p:nvPr/>
        </p:nvSpPr>
        <p:spPr>
          <a:xfrm>
            <a:off x="627452" y="1415579"/>
            <a:ext cx="5145622" cy="236725"/>
          </a:xfrm>
          <a:prstGeom prst="rect">
            <a:avLst/>
          </a:prstGeom>
        </p:spPr>
        <p:txBody>
          <a:bodyPr anchor="ctr"/>
          <a:lstStyle>
            <a:lvl1pPr marL="216000" indent="-216000" algn="l" rtl="0" fontAlgn="base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b="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rtl="0" fontAlgn="base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648000" indent="-216000" algn="l" rtl="0" fontAlgn="base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+mn-lt"/>
              </a:defRPr>
            </a:lvl3pPr>
            <a:lvl4pPr marL="864000" indent="-216000" algn="l" rtl="0" fontAlgn="base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 b="0">
                <a:solidFill>
                  <a:schemeClr val="tx1"/>
                </a:solidFill>
                <a:latin typeface="+mn-lt"/>
              </a:defRPr>
            </a:lvl4pPr>
            <a:lvl5pPr marL="1080000" indent="-216000" algn="l" rtl="0" fontAlgn="base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  <a:lvl6pPr marL="1080000" indent="-216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6pPr>
            <a:lvl7pPr marL="1080000" indent="-216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7pPr>
            <a:lvl8pPr marL="1080000" indent="-216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8pPr>
            <a:lvl9pPr marL="1080000" indent="-216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126">
              <a:buNone/>
            </a:pPr>
            <a:r>
              <a:rPr lang="es-ES" sz="1400" dirty="0"/>
              <a:t>Pasivos de bloques de pensiones (en EUR)</a:t>
            </a:r>
            <a:endParaRPr lang="en-GB" sz="1400" kern="0" dirty="0"/>
          </a:p>
        </p:txBody>
      </p:sp>
      <p:sp>
        <p:nvSpPr>
          <p:cNvPr id="4" name="Text Placeholder 11"/>
          <p:cNvSpPr txBox="1">
            <a:spLocks/>
          </p:cNvSpPr>
          <p:nvPr/>
        </p:nvSpPr>
        <p:spPr>
          <a:xfrm>
            <a:off x="6134461" y="1415637"/>
            <a:ext cx="5145622" cy="236718"/>
          </a:xfrm>
          <a:prstGeom prst="rect">
            <a:avLst/>
          </a:prstGeom>
        </p:spPr>
        <p:txBody>
          <a:bodyPr anchor="ctr"/>
          <a:lstStyle>
            <a:lvl1pPr marL="216000" indent="-216000" algn="l" rtl="0" fontAlgn="base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b="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rtl="0" fontAlgn="base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648000" indent="-216000" algn="l" rtl="0" fontAlgn="base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+mn-lt"/>
              </a:defRPr>
            </a:lvl3pPr>
            <a:lvl4pPr marL="864000" indent="-216000" algn="l" rtl="0" fontAlgn="base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 b="0">
                <a:solidFill>
                  <a:schemeClr val="tx1"/>
                </a:solidFill>
                <a:latin typeface="+mn-lt"/>
              </a:defRPr>
            </a:lvl4pPr>
            <a:lvl5pPr marL="1080000" indent="-216000" algn="l" rtl="0" fontAlgn="base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  <a:lvl6pPr marL="1080000" indent="-216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6pPr>
            <a:lvl7pPr marL="1080000" indent="-216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7pPr>
            <a:lvl8pPr marL="1080000" indent="-216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8pPr>
            <a:lvl9pPr marL="1080000" indent="-216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126">
              <a:buNone/>
            </a:pPr>
            <a:r>
              <a:rPr lang="en-GB" sz="1400" kern="0" dirty="0" err="1"/>
              <a:t>Pasivos</a:t>
            </a:r>
            <a:r>
              <a:rPr lang="en-GB" sz="1400" kern="0" dirty="0"/>
              <a:t> de </a:t>
            </a:r>
            <a:r>
              <a:rPr lang="en-GB" sz="1400" kern="0" dirty="0" err="1"/>
              <a:t>rentas</a:t>
            </a:r>
            <a:r>
              <a:rPr lang="en-GB" sz="1400" kern="0" dirty="0"/>
              <a:t> </a:t>
            </a:r>
            <a:r>
              <a:rPr lang="en-GB" sz="1400" kern="0" dirty="0" err="1"/>
              <a:t>individuales</a:t>
            </a:r>
            <a:r>
              <a:rPr lang="en-GB" sz="1400" kern="0" dirty="0"/>
              <a:t> (</a:t>
            </a:r>
            <a:r>
              <a:rPr lang="en-GB" sz="1400" kern="0" dirty="0" err="1"/>
              <a:t>en</a:t>
            </a:r>
            <a:r>
              <a:rPr lang="en-GB" sz="1400" kern="0" dirty="0"/>
              <a:t> EUR)</a:t>
            </a:r>
          </a:p>
        </p:txBody>
      </p:sp>
      <p:sp>
        <p:nvSpPr>
          <p:cNvPr id="7" name="Oval 6"/>
          <p:cNvSpPr>
            <a:spLocks noChangeAspect="1"/>
          </p:cNvSpPr>
          <p:nvPr/>
        </p:nvSpPr>
        <p:spPr bwMode="auto">
          <a:xfrm>
            <a:off x="4576831" y="1125881"/>
            <a:ext cx="1079438" cy="1079438"/>
          </a:xfrm>
          <a:prstGeom prst="ellipse">
            <a:avLst/>
          </a:prstGeom>
          <a:solidFill>
            <a:schemeClr val="accent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none" lIns="89975" tIns="46787" rIns="89975" bIns="467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035" fontAlgn="base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GB" sz="1800" b="1" dirty="0">
                <a:solidFill>
                  <a:schemeClr val="bg1"/>
                </a:solidFill>
                <a:latin typeface="Arial" charset="0"/>
              </a:rPr>
              <a:t>€40.000m</a:t>
            </a:r>
            <a:endParaRPr lang="en-GB" sz="20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8" name="Oval 7"/>
          <p:cNvSpPr>
            <a:spLocks noChangeAspect="1"/>
          </p:cNvSpPr>
          <p:nvPr/>
        </p:nvSpPr>
        <p:spPr bwMode="auto">
          <a:xfrm>
            <a:off x="10126951" y="1125881"/>
            <a:ext cx="1079438" cy="1079438"/>
          </a:xfrm>
          <a:prstGeom prst="ellipse">
            <a:avLst/>
          </a:prstGeom>
          <a:solidFill>
            <a:schemeClr val="accent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75" tIns="46787" rIns="89975" bIns="46787" numCol="1" rtlCol="0" anchor="ctr" anchorCtr="0" compatLnSpc="1">
            <a:prstTxWarp prst="textNoShape">
              <a:avLst/>
            </a:prstTxWarp>
          </a:bodyPr>
          <a:lstStyle/>
          <a:p>
            <a:pPr algn="ctr" defTabSz="914035" fontAlgn="base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GB" sz="1998" b="1" dirty="0">
                <a:solidFill>
                  <a:schemeClr val="bg1"/>
                </a:solidFill>
                <a:latin typeface="Arial" charset="0"/>
              </a:rPr>
              <a:t>€6.000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41CBFF-9E70-F7BE-053A-4BE81D350035}"/>
              </a:ext>
            </a:extLst>
          </p:cNvPr>
          <p:cNvSpPr txBox="1"/>
          <p:nvPr/>
        </p:nvSpPr>
        <p:spPr bwMode="gray">
          <a:xfrm>
            <a:off x="711356" y="5301055"/>
            <a:ext cx="10609318" cy="10159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43049" indent="-243049">
              <a:spcBef>
                <a:spcPts val="300"/>
              </a:spcBef>
              <a:buClr>
                <a:schemeClr val="accent2">
                  <a:lumMod val="10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2000" dirty="0"/>
              <a:t>Nuestra base de datos de longevidad</a:t>
            </a:r>
            <a:r>
              <a:rPr lang="es-ES" sz="2000" dirty="0">
                <a:solidFill>
                  <a:schemeClr val="accent2"/>
                </a:solidFill>
              </a:rPr>
              <a:t>: &gt;4m pólizas, 18,5m años de exposición y 550k fallecido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758195D-2124-D8BF-4787-8CFFE3617FB1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9" name="Group 4">
              <a:extLst>
                <a:ext uri="{FF2B5EF4-FFF2-40B4-BE49-F238E27FC236}">
                  <a16:creationId xmlns:a16="http://schemas.microsoft.com/office/drawing/2014/main" id="{037B15A8-DD75-F070-4E69-A94D376CB02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7C60F225-CB8D-8DF3-71BE-4302254F8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44C97D02-E619-299D-41E3-1979F1345B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2E06BB7F-D9BA-3B3C-6457-C0A9AC2AF0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BC596B8-E96C-5D9C-F70E-92E48B0E1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9">
                <a:extLst>
                  <a:ext uri="{FF2B5EF4-FFF2-40B4-BE49-F238E27FC236}">
                    <a16:creationId xmlns:a16="http://schemas.microsoft.com/office/drawing/2014/main" id="{796E2920-1AA4-B363-4D65-309199C54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218D8277-AD46-ABF6-3A07-9B4079A6F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7E05C1F0-42BB-0F77-DBB5-F711A69F1B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12">
                <a:extLst>
                  <a:ext uri="{FF2B5EF4-FFF2-40B4-BE49-F238E27FC236}">
                    <a16:creationId xmlns:a16="http://schemas.microsoft.com/office/drawing/2014/main" id="{C3E7E64B-6094-67CD-A395-E13553F93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05390C17-6226-0A87-826B-D1C4091F7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E6D9F38D-E471-7F04-8B68-FFE44D8220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FCA9C827-2ED2-3741-AF35-126887FE5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FE221A1D-3BA3-0A0D-068D-58B50D5C6E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8C7D84D-E7E7-7051-2AEA-70C02194FD78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50984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  <p:bldGraphic spid="13" grpId="0">
        <p:bldAsOne/>
      </p:bldGraphic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C4A4E-F566-9BD8-5F7A-25E3924482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 err="1"/>
              <a:t>Entonces</a:t>
            </a:r>
            <a:r>
              <a:rPr lang="en-GB" dirty="0"/>
              <a:t>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7E88E8-B2FA-2036-7EBB-9F0DBAA2A89F}"/>
              </a:ext>
            </a:extLst>
          </p:cNvPr>
          <p:cNvSpPr txBox="1"/>
          <p:nvPr/>
        </p:nvSpPr>
        <p:spPr>
          <a:xfrm>
            <a:off x="2191420" y="2286000"/>
            <a:ext cx="7807569" cy="114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2800" dirty="0"/>
              <a:t>¿Hasta a </a:t>
            </a:r>
            <a:r>
              <a:rPr lang="en-GB" sz="2800" dirty="0" err="1"/>
              <a:t>qué</a:t>
            </a:r>
            <a:r>
              <a:rPr lang="en-GB" sz="2800" dirty="0"/>
              <a:t> </a:t>
            </a:r>
            <a:r>
              <a:rPr lang="en-GB" sz="2800" dirty="0" err="1"/>
              <a:t>edad</a:t>
            </a:r>
            <a:r>
              <a:rPr lang="en-GB" sz="2800" dirty="0"/>
              <a:t> </a:t>
            </a:r>
            <a:r>
              <a:rPr lang="en-GB" sz="2800" dirty="0" err="1"/>
              <a:t>te</a:t>
            </a:r>
            <a:r>
              <a:rPr lang="en-GB" sz="2800" dirty="0"/>
              <a:t> </a:t>
            </a:r>
          </a:p>
          <a:p>
            <a:pPr algn="ctr"/>
            <a:r>
              <a:rPr lang="en-GB" sz="2800" dirty="0" err="1"/>
              <a:t>gustaría</a:t>
            </a:r>
            <a:r>
              <a:rPr lang="en-GB" sz="2800" dirty="0"/>
              <a:t> </a:t>
            </a:r>
            <a:r>
              <a:rPr lang="en-GB" sz="2800" dirty="0" err="1"/>
              <a:t>vivir</a:t>
            </a:r>
            <a:r>
              <a:rPr lang="en-GB" sz="2800" dirty="0"/>
              <a:t>?</a:t>
            </a:r>
          </a:p>
          <a:p>
            <a:pPr algn="ctr"/>
            <a:endParaRPr lang="en-GB" sz="28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88F12B-A68B-76EF-CC5F-D486953E2F3E}"/>
              </a:ext>
            </a:extLst>
          </p:cNvPr>
          <p:cNvGrpSpPr/>
          <p:nvPr/>
        </p:nvGrpSpPr>
        <p:grpSpPr>
          <a:xfrm>
            <a:off x="5430225" y="3693894"/>
            <a:ext cx="1331550" cy="1827675"/>
            <a:chOff x="5718680" y="3174628"/>
            <a:chExt cx="905228" cy="1382674"/>
          </a:xfrm>
        </p:grpSpPr>
        <p:grpSp>
          <p:nvGrpSpPr>
            <p:cNvPr id="21" name="Group 4">
              <a:extLst>
                <a:ext uri="{FF2B5EF4-FFF2-40B4-BE49-F238E27FC236}">
                  <a16:creationId xmlns:a16="http://schemas.microsoft.com/office/drawing/2014/main" id="{BE80A7BF-6F3B-9B0F-F562-B75345FFB60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23" name="Freeform 5">
                <a:extLst>
                  <a:ext uri="{FF2B5EF4-FFF2-40B4-BE49-F238E27FC236}">
                    <a16:creationId xmlns:a16="http://schemas.microsoft.com/office/drawing/2014/main" id="{617E17F1-18CF-1FD2-1E54-A60712F14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4" name="Freeform 6">
                <a:extLst>
                  <a:ext uri="{FF2B5EF4-FFF2-40B4-BE49-F238E27FC236}">
                    <a16:creationId xmlns:a16="http://schemas.microsoft.com/office/drawing/2014/main" id="{F4636526-830D-2D4E-871B-A16324435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7">
                <a:extLst>
                  <a:ext uri="{FF2B5EF4-FFF2-40B4-BE49-F238E27FC236}">
                    <a16:creationId xmlns:a16="http://schemas.microsoft.com/office/drawing/2014/main" id="{2123174C-BF80-9840-E3C8-AA3D24AAC4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6" name="Freeform 8">
                <a:extLst>
                  <a:ext uri="{FF2B5EF4-FFF2-40B4-BE49-F238E27FC236}">
                    <a16:creationId xmlns:a16="http://schemas.microsoft.com/office/drawing/2014/main" id="{B9AD82E5-8E89-6DD2-C992-3DEDE49A3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9">
                <a:extLst>
                  <a:ext uri="{FF2B5EF4-FFF2-40B4-BE49-F238E27FC236}">
                    <a16:creationId xmlns:a16="http://schemas.microsoft.com/office/drawing/2014/main" id="{4EF9B8D9-87A1-F82C-3AE5-FE6A2A1AC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BF712A19-2A6C-7CEE-4A82-8D8496875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EB4E1D37-9FAE-A417-5641-F9AA7B27C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0" name="Freeform 12">
                <a:extLst>
                  <a:ext uri="{FF2B5EF4-FFF2-40B4-BE49-F238E27FC236}">
                    <a16:creationId xmlns:a16="http://schemas.microsoft.com/office/drawing/2014/main" id="{B6DBC055-6132-B78B-5999-99080BE7D5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1" name="Freeform 13">
                <a:extLst>
                  <a:ext uri="{FF2B5EF4-FFF2-40B4-BE49-F238E27FC236}">
                    <a16:creationId xmlns:a16="http://schemas.microsoft.com/office/drawing/2014/main" id="{E7F0EE6A-529A-B10B-CD9B-D62F4C30B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2" name="Freeform 14">
                <a:extLst>
                  <a:ext uri="{FF2B5EF4-FFF2-40B4-BE49-F238E27FC236}">
                    <a16:creationId xmlns:a16="http://schemas.microsoft.com/office/drawing/2014/main" id="{14AE0210-4FA8-CD0F-F019-59439AD53E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3" name="Freeform 15">
                <a:extLst>
                  <a:ext uri="{FF2B5EF4-FFF2-40B4-BE49-F238E27FC236}">
                    <a16:creationId xmlns:a16="http://schemas.microsoft.com/office/drawing/2014/main" id="{16026623-1692-75F2-E9CD-21BE2F5BAF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4" name="Freeform 16">
                <a:extLst>
                  <a:ext uri="{FF2B5EF4-FFF2-40B4-BE49-F238E27FC236}">
                    <a16:creationId xmlns:a16="http://schemas.microsoft.com/office/drawing/2014/main" id="{F1B2DD22-3CA4-754C-160B-5B563821B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A4EE322-E010-1E2C-0294-4C1140E00F1D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14427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157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8A0BB-E09F-4094-3870-7B9AA1CD9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 err="1"/>
              <a:t>Resultados</a:t>
            </a:r>
            <a:r>
              <a:rPr lang="en-GB" dirty="0"/>
              <a:t>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8A42084-C097-3EF6-1AAE-37BEF08D61B1}"/>
              </a:ext>
            </a:extLst>
          </p:cNvPr>
          <p:cNvSpPr txBox="1"/>
          <p:nvPr/>
        </p:nvSpPr>
        <p:spPr>
          <a:xfrm>
            <a:off x="287337" y="1325867"/>
            <a:ext cx="5896708" cy="4337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1800" dirty="0"/>
              <a:t>De los 83 que </a:t>
            </a:r>
            <a:r>
              <a:rPr lang="en-GB" sz="1800" dirty="0" err="1"/>
              <a:t>respondieron</a:t>
            </a:r>
            <a:r>
              <a:rPr lang="en-GB" sz="1800" dirty="0"/>
              <a:t> mi </a:t>
            </a:r>
            <a:r>
              <a:rPr lang="en-GB" sz="1800" dirty="0" err="1"/>
              <a:t>encuesta</a:t>
            </a:r>
            <a:r>
              <a:rPr lang="en-GB" sz="1800" dirty="0"/>
              <a:t>: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79B1E52-CB64-8438-ACA3-34D541BAAF3C}"/>
              </a:ext>
            </a:extLst>
          </p:cNvPr>
          <p:cNvSpPr/>
          <p:nvPr/>
        </p:nvSpPr>
        <p:spPr>
          <a:xfrm>
            <a:off x="3352800" y="2004646"/>
            <a:ext cx="1207477" cy="1169983"/>
          </a:xfrm>
          <a:prstGeom prst="ellips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2000" dirty="0">
                <a:solidFill>
                  <a:schemeClr val="bg1"/>
                </a:solidFill>
              </a:rPr>
              <a:t>65</a:t>
            </a:r>
            <a:br>
              <a:rPr lang="en-GB" sz="1600" dirty="0">
                <a:solidFill>
                  <a:schemeClr val="bg1"/>
                </a:solidFill>
              </a:rPr>
            </a:br>
            <a:r>
              <a:rPr lang="en-GB" sz="1600" b="0" dirty="0">
                <a:solidFill>
                  <a:schemeClr val="bg1"/>
                </a:solidFill>
              </a:rPr>
              <a:t>6.06%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21C366F-18AB-2C64-A737-049A39DF30CD}"/>
              </a:ext>
            </a:extLst>
          </p:cNvPr>
          <p:cNvSpPr/>
          <p:nvPr/>
        </p:nvSpPr>
        <p:spPr>
          <a:xfrm>
            <a:off x="2858172" y="3367451"/>
            <a:ext cx="1620718" cy="1557449"/>
          </a:xfrm>
          <a:prstGeom prst="ellips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r>
              <a:rPr lang="en-GB" sz="2000" dirty="0">
                <a:solidFill>
                  <a:schemeClr val="bg1"/>
                </a:solidFill>
              </a:rPr>
              <a:t>70</a:t>
            </a:r>
          </a:p>
          <a:p>
            <a:pPr algn="ctr"/>
            <a:r>
              <a:rPr lang="en-GB" sz="1600" b="0" dirty="0">
                <a:solidFill>
                  <a:schemeClr val="bg1"/>
                </a:solidFill>
              </a:rPr>
              <a:t>15.15%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E68C84A-9F59-6D6B-5D13-8CAA76ADBA0F}"/>
              </a:ext>
            </a:extLst>
          </p:cNvPr>
          <p:cNvSpPr/>
          <p:nvPr/>
        </p:nvSpPr>
        <p:spPr>
          <a:xfrm>
            <a:off x="4094284" y="4701557"/>
            <a:ext cx="1834661" cy="1884486"/>
          </a:xfrm>
          <a:prstGeom prst="ellips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r>
              <a:rPr lang="en-GB" sz="2000" dirty="0">
                <a:solidFill>
                  <a:schemeClr val="bg1"/>
                </a:solidFill>
              </a:rPr>
              <a:t>75</a:t>
            </a:r>
          </a:p>
          <a:p>
            <a:pPr algn="ctr"/>
            <a:r>
              <a:rPr lang="en-GB" sz="1600" b="0" dirty="0">
                <a:solidFill>
                  <a:schemeClr val="bg1"/>
                </a:solidFill>
              </a:rPr>
              <a:t>21.21%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BC31FD1-2832-9B2A-1AE3-607F8C697615}"/>
              </a:ext>
            </a:extLst>
          </p:cNvPr>
          <p:cNvSpPr/>
          <p:nvPr/>
        </p:nvSpPr>
        <p:spPr>
          <a:xfrm>
            <a:off x="5011615" y="1406769"/>
            <a:ext cx="1389185" cy="1362202"/>
          </a:xfrm>
          <a:prstGeom prst="ellips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s-MX" sz="2000" dirty="0">
                <a:solidFill>
                  <a:schemeClr val="bg1"/>
                </a:solidFill>
              </a:rPr>
              <a:t>&lt; </a:t>
            </a:r>
            <a:r>
              <a:rPr lang="en-GB" sz="2000" dirty="0">
                <a:solidFill>
                  <a:schemeClr val="bg1"/>
                </a:solidFill>
              </a:rPr>
              <a:t>60</a:t>
            </a:r>
            <a:br>
              <a:rPr lang="en-GB" sz="1600" dirty="0">
                <a:solidFill>
                  <a:schemeClr val="bg1"/>
                </a:solidFill>
              </a:rPr>
            </a:br>
            <a:r>
              <a:rPr lang="en-GB" sz="1600" b="0" dirty="0">
                <a:solidFill>
                  <a:schemeClr val="bg1"/>
                </a:solidFill>
              </a:rPr>
              <a:t>9.09%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68D1352-50AC-106A-3BDF-C608FF7818C3}"/>
              </a:ext>
            </a:extLst>
          </p:cNvPr>
          <p:cNvSpPr/>
          <p:nvPr/>
        </p:nvSpPr>
        <p:spPr>
          <a:xfrm>
            <a:off x="6764215" y="1406768"/>
            <a:ext cx="1204671" cy="1181701"/>
          </a:xfrm>
          <a:prstGeom prst="ellips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r>
              <a:rPr lang="es-MX" sz="2000" dirty="0">
                <a:solidFill>
                  <a:schemeClr val="bg1"/>
                </a:solidFill>
              </a:rPr>
              <a:t>&gt; </a:t>
            </a:r>
            <a:r>
              <a:rPr lang="en-GB" sz="2000" dirty="0">
                <a:solidFill>
                  <a:schemeClr val="bg1"/>
                </a:solidFill>
              </a:rPr>
              <a:t>90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</a:rPr>
              <a:t>6.06%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763FC68-7E20-CB2D-EE06-20037BC0F68B}"/>
              </a:ext>
            </a:extLst>
          </p:cNvPr>
          <p:cNvSpPr/>
          <p:nvPr/>
        </p:nvSpPr>
        <p:spPr>
          <a:xfrm>
            <a:off x="7973398" y="2493527"/>
            <a:ext cx="1360430" cy="1362203"/>
          </a:xfrm>
          <a:prstGeom prst="ellips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r>
              <a:rPr lang="en-GB" sz="2000" dirty="0">
                <a:solidFill>
                  <a:schemeClr val="bg1"/>
                </a:solidFill>
              </a:rPr>
              <a:t>90</a:t>
            </a:r>
          </a:p>
          <a:p>
            <a:pPr algn="ctr"/>
            <a:r>
              <a:rPr lang="en-GB" sz="1600" b="0" dirty="0">
                <a:solidFill>
                  <a:schemeClr val="bg1"/>
                </a:solidFill>
              </a:rPr>
              <a:t>9.09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2B963BE-BDE9-8F2D-1E24-D46ACDB1BADF}"/>
              </a:ext>
            </a:extLst>
          </p:cNvPr>
          <p:cNvSpPr/>
          <p:nvPr/>
        </p:nvSpPr>
        <p:spPr>
          <a:xfrm>
            <a:off x="6206713" y="4519243"/>
            <a:ext cx="2096955" cy="2107830"/>
          </a:xfrm>
          <a:prstGeom prst="ellips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r>
              <a:rPr lang="en-GB" sz="2000" dirty="0">
                <a:solidFill>
                  <a:schemeClr val="bg1"/>
                </a:solidFill>
              </a:rPr>
              <a:t>80</a:t>
            </a:r>
          </a:p>
          <a:p>
            <a:pPr algn="ctr"/>
            <a:r>
              <a:rPr lang="en-GB" sz="1600" b="0" dirty="0">
                <a:solidFill>
                  <a:schemeClr val="bg1"/>
                </a:solidFill>
              </a:rPr>
              <a:t>27.27%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A15AEDF-DFCB-68AB-EC52-E5E89D925E3B}"/>
              </a:ext>
            </a:extLst>
          </p:cNvPr>
          <p:cNvSpPr/>
          <p:nvPr/>
        </p:nvSpPr>
        <p:spPr>
          <a:xfrm>
            <a:off x="8152734" y="4011705"/>
            <a:ext cx="1181093" cy="1181618"/>
          </a:xfrm>
          <a:prstGeom prst="ellipse">
            <a:avLst/>
          </a:prstGeom>
          <a:solidFill>
            <a:srgbClr val="CE4169"/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r>
              <a:rPr lang="en-GB" sz="2000" dirty="0">
                <a:solidFill>
                  <a:schemeClr val="bg1"/>
                </a:solidFill>
              </a:rPr>
              <a:t>85</a:t>
            </a:r>
          </a:p>
          <a:p>
            <a:pPr algn="ctr"/>
            <a:r>
              <a:rPr lang="en-GB" sz="1600" b="0" dirty="0">
                <a:solidFill>
                  <a:schemeClr val="bg1"/>
                </a:solidFill>
              </a:rPr>
              <a:t>6.06%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4A1FE27-EDD0-BD17-A1B3-F2901FA11ABF}"/>
              </a:ext>
            </a:extLst>
          </p:cNvPr>
          <p:cNvGrpSpPr/>
          <p:nvPr/>
        </p:nvGrpSpPr>
        <p:grpSpPr>
          <a:xfrm>
            <a:off x="5718680" y="3174628"/>
            <a:ext cx="905228" cy="1382674"/>
            <a:chOff x="5718680" y="3174628"/>
            <a:chExt cx="905228" cy="1382674"/>
          </a:xfrm>
        </p:grpSpPr>
        <p:grpSp>
          <p:nvGrpSpPr>
            <p:cNvPr id="13" name="Group 4">
              <a:extLst>
                <a:ext uri="{FF2B5EF4-FFF2-40B4-BE49-F238E27FC236}">
                  <a16:creationId xmlns:a16="http://schemas.microsoft.com/office/drawing/2014/main" id="{8D0FBB71-04E7-A0A4-6719-767D9A719C7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7F57AE61-A2CF-87BA-9427-0DC593115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6">
                <a:extLst>
                  <a:ext uri="{FF2B5EF4-FFF2-40B4-BE49-F238E27FC236}">
                    <a16:creationId xmlns:a16="http://schemas.microsoft.com/office/drawing/2014/main" id="{AA2AF85C-F305-238F-8197-F01FE079E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43D7BCC1-3084-918D-B567-F9F378DC3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C59ADCAF-7F77-B170-A3CF-B552C1A2A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E18904B1-6A4B-708E-9DD9-7462C179F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A9A84F14-E8F2-F23E-A186-2AFD2261F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7F13D78F-9435-B21D-6C05-7CB054B7D1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FDF62679-B41E-0B06-D8E3-212A62282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D3FEB73A-E607-33E5-E962-20EE342F0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6FF884B-ED82-FDF9-89EA-E6C91CEF7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526FAC00-C7E4-FCB4-88D5-2BC5E09AF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820994A7-C352-34FD-0248-CD54115958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917BC78-009B-D319-AE01-4371CA4ABCD9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36967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E91E29-FB54-DF91-CC6E-4C529547C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¿</a:t>
            </a:r>
            <a:r>
              <a:rPr lang="en-GB" dirty="0" err="1"/>
              <a:t>Cómo</a:t>
            </a:r>
            <a:r>
              <a:rPr lang="en-GB" dirty="0"/>
              <a:t> se ha </a:t>
            </a:r>
            <a:r>
              <a:rPr lang="en-GB" dirty="0" err="1"/>
              <a:t>comportado</a:t>
            </a:r>
            <a:r>
              <a:rPr lang="en-GB" dirty="0"/>
              <a:t> la </a:t>
            </a:r>
            <a:r>
              <a:rPr lang="en-GB" dirty="0" err="1"/>
              <a:t>esperanza</a:t>
            </a:r>
            <a:r>
              <a:rPr lang="en-GB" dirty="0"/>
              <a:t> de </a:t>
            </a:r>
            <a:r>
              <a:rPr lang="en-GB" dirty="0" err="1"/>
              <a:t>vida</a:t>
            </a:r>
            <a:r>
              <a:rPr lang="en-GB" dirty="0"/>
              <a:t>?</a:t>
            </a:r>
            <a:br>
              <a:rPr lang="en-GB" dirty="0"/>
            </a:b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90F44FB-B490-2313-909B-A5CD030889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1708" y="1582098"/>
            <a:ext cx="8668584" cy="4505501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531B22-AB2A-137F-38C8-55FF4BE28E1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ource: Our World in Data, Life Expectancy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25E59C-120F-9B8F-6C9B-F14D2C2F6F91}"/>
              </a:ext>
            </a:extLst>
          </p:cNvPr>
          <p:cNvSpPr txBox="1"/>
          <p:nvPr/>
        </p:nvSpPr>
        <p:spPr>
          <a:xfrm>
            <a:off x="9495692" y="1582098"/>
            <a:ext cx="550985" cy="4220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dirty="0"/>
              <a:t>73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E16B693-F578-1D89-27B5-DEA94827289F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9" name="Group 4">
              <a:extLst>
                <a:ext uri="{FF2B5EF4-FFF2-40B4-BE49-F238E27FC236}">
                  <a16:creationId xmlns:a16="http://schemas.microsoft.com/office/drawing/2014/main" id="{6A78E5FB-3CC5-3720-6527-A2ACB71ADCE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9C81926B-B4BE-6D07-4FF1-D0F42737AA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Freeform 6">
                <a:extLst>
                  <a:ext uri="{FF2B5EF4-FFF2-40B4-BE49-F238E27FC236}">
                    <a16:creationId xmlns:a16="http://schemas.microsoft.com/office/drawing/2014/main" id="{2D4EEF47-0682-466E-2AC8-40803FC3C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561836FF-9FA1-4531-CE39-506FDBA1DA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8">
                <a:extLst>
                  <a:ext uri="{FF2B5EF4-FFF2-40B4-BE49-F238E27FC236}">
                    <a16:creationId xmlns:a16="http://schemas.microsoft.com/office/drawing/2014/main" id="{35493A4E-7F89-281D-C9A1-573CADCE25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9">
                <a:extLst>
                  <a:ext uri="{FF2B5EF4-FFF2-40B4-BE49-F238E27FC236}">
                    <a16:creationId xmlns:a16="http://schemas.microsoft.com/office/drawing/2014/main" id="{D4F6AEEA-D533-B872-8F58-B24AC5454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10">
                <a:extLst>
                  <a:ext uri="{FF2B5EF4-FFF2-40B4-BE49-F238E27FC236}">
                    <a16:creationId xmlns:a16="http://schemas.microsoft.com/office/drawing/2014/main" id="{D71715B4-649C-C9CF-298A-BD5DD3BFC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11">
                <a:extLst>
                  <a:ext uri="{FF2B5EF4-FFF2-40B4-BE49-F238E27FC236}">
                    <a16:creationId xmlns:a16="http://schemas.microsoft.com/office/drawing/2014/main" id="{845BC2F5-7C39-56A1-6DA8-DD9A7DB355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12">
                <a:extLst>
                  <a:ext uri="{FF2B5EF4-FFF2-40B4-BE49-F238E27FC236}">
                    <a16:creationId xmlns:a16="http://schemas.microsoft.com/office/drawing/2014/main" id="{383F7956-CCF1-A11C-1D8F-D1133B7461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13">
                <a:extLst>
                  <a:ext uri="{FF2B5EF4-FFF2-40B4-BE49-F238E27FC236}">
                    <a16:creationId xmlns:a16="http://schemas.microsoft.com/office/drawing/2014/main" id="{D3400A4D-830F-1821-B382-8F413E4E48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14">
                <a:extLst>
                  <a:ext uri="{FF2B5EF4-FFF2-40B4-BE49-F238E27FC236}">
                    <a16:creationId xmlns:a16="http://schemas.microsoft.com/office/drawing/2014/main" id="{44822559-CF0C-6090-4446-15BA279A8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15">
                <a:extLst>
                  <a:ext uri="{FF2B5EF4-FFF2-40B4-BE49-F238E27FC236}">
                    <a16:creationId xmlns:a16="http://schemas.microsoft.com/office/drawing/2014/main" id="{3743D21F-D4EE-E6D4-C46C-E89AD1F2D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16">
                <a:extLst>
                  <a:ext uri="{FF2B5EF4-FFF2-40B4-BE49-F238E27FC236}">
                    <a16:creationId xmlns:a16="http://schemas.microsoft.com/office/drawing/2014/main" id="{5AB30BBB-8F6B-347C-21F9-965FF2D26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1338E47-42D7-73DF-8006-65765FC90A9B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9EE969D4-A706-475A-B6E2-B408EE315193}"/>
              </a:ext>
            </a:extLst>
          </p:cNvPr>
          <p:cNvSpPr/>
          <p:nvPr/>
        </p:nvSpPr>
        <p:spPr>
          <a:xfrm>
            <a:off x="3083169" y="2731477"/>
            <a:ext cx="890954" cy="899354"/>
          </a:xfrm>
          <a:prstGeom prst="ellipse">
            <a:avLst/>
          </a:prstGeom>
          <a:solidFill>
            <a:srgbClr val="CE4169">
              <a:alpha val="50196"/>
            </a:srgbClr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549C011-6E01-4C20-EEB9-2309E1107D4E}"/>
              </a:ext>
            </a:extLst>
          </p:cNvPr>
          <p:cNvSpPr/>
          <p:nvPr/>
        </p:nvSpPr>
        <p:spPr>
          <a:xfrm>
            <a:off x="9319844" y="1912978"/>
            <a:ext cx="550986" cy="545123"/>
          </a:xfrm>
          <a:prstGeom prst="ellipse">
            <a:avLst/>
          </a:prstGeom>
          <a:solidFill>
            <a:srgbClr val="CE4169">
              <a:alpha val="50196"/>
            </a:srgbClr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82671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7432A0-6A9A-2614-2ED2-C8404D4FE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 err="1"/>
              <a:t>Mortalidad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</a:t>
            </a:r>
            <a:r>
              <a:rPr lang="en-GB" dirty="0" err="1"/>
              <a:t>Cohortes</a:t>
            </a:r>
            <a:endParaRPr lang="en-GB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A896002C-FAA3-A893-A368-A726406EA3F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278000" y="6450420"/>
            <a:ext cx="6656400" cy="144000"/>
          </a:xfrm>
        </p:spPr>
        <p:txBody>
          <a:bodyPr/>
          <a:lstStyle/>
          <a:p>
            <a:r>
              <a:rPr lang="en-US"/>
              <a:t>Source: Our World in Data, Life Expectancy</a:t>
            </a:r>
            <a:endParaRPr lang="en-GB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47A0696-3ECD-38BD-9FDA-8EB3AD002BF4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10" name="Group 4">
              <a:extLst>
                <a:ext uri="{FF2B5EF4-FFF2-40B4-BE49-F238E27FC236}">
                  <a16:creationId xmlns:a16="http://schemas.microsoft.com/office/drawing/2014/main" id="{E6627530-1C7F-D280-2BAB-EC4AFA5F9CC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2" name="Freeform 5">
                <a:extLst>
                  <a:ext uri="{FF2B5EF4-FFF2-40B4-BE49-F238E27FC236}">
                    <a16:creationId xmlns:a16="http://schemas.microsoft.com/office/drawing/2014/main" id="{12E26490-E03A-E2ED-987F-08C0DB771B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Freeform 6">
                <a:extLst>
                  <a:ext uri="{FF2B5EF4-FFF2-40B4-BE49-F238E27FC236}">
                    <a16:creationId xmlns:a16="http://schemas.microsoft.com/office/drawing/2014/main" id="{EC460D9E-28EC-AAAA-6875-7CEB01C71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78A4AC72-4FD1-6451-378C-75127FBE0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5A427441-0137-132B-5077-271B8469A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3CE3EED7-3EE6-524A-EB54-3B44F4A20C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6EF0E568-ED84-DB27-03AF-A9B6F9DCDC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154719EB-0025-1AFA-AEC1-D778F752B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C9ED60E3-5CD4-4046-6D2D-525DFF4D3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13">
                <a:extLst>
                  <a:ext uri="{FF2B5EF4-FFF2-40B4-BE49-F238E27FC236}">
                    <a16:creationId xmlns:a16="http://schemas.microsoft.com/office/drawing/2014/main" id="{47E57CD7-FEA0-82D0-08B9-9B671907E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14">
                <a:extLst>
                  <a:ext uri="{FF2B5EF4-FFF2-40B4-BE49-F238E27FC236}">
                    <a16:creationId xmlns:a16="http://schemas.microsoft.com/office/drawing/2014/main" id="{9378C25E-D553-3C15-CDE7-70ABD5690E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15">
                <a:extLst>
                  <a:ext uri="{FF2B5EF4-FFF2-40B4-BE49-F238E27FC236}">
                    <a16:creationId xmlns:a16="http://schemas.microsoft.com/office/drawing/2014/main" id="{3E11B634-46CA-AC80-1B33-DB5F7E0E63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" name="Freeform 16">
                <a:extLst>
                  <a:ext uri="{FF2B5EF4-FFF2-40B4-BE49-F238E27FC236}">
                    <a16:creationId xmlns:a16="http://schemas.microsoft.com/office/drawing/2014/main" id="{FC68DA8D-89F5-6D74-DA4F-E1AF5ACFC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0F3BC08-5337-4A52-0A98-44CA55D8C7EF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  <p:pic>
        <p:nvPicPr>
          <p:cNvPr id="1030" name="Picture 6">
            <a:extLst>
              <a:ext uri="{FF2B5EF4-FFF2-40B4-BE49-F238E27FC236}">
                <a16:creationId xmlns:a16="http://schemas.microsoft.com/office/drawing/2014/main" id="{68B0A0BC-70B6-DE01-1527-571106CDB7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490" y="1282557"/>
            <a:ext cx="10326418" cy="5163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5595536-DE3F-DB40-F2E2-150FB970579C}"/>
              </a:ext>
            </a:extLst>
          </p:cNvPr>
          <p:cNvSpPr/>
          <p:nvPr/>
        </p:nvSpPr>
        <p:spPr>
          <a:xfrm>
            <a:off x="5990492" y="1652954"/>
            <a:ext cx="375138" cy="4056185"/>
          </a:xfrm>
          <a:prstGeom prst="roundRect">
            <a:avLst/>
          </a:prstGeom>
          <a:solidFill>
            <a:srgbClr val="FFC6D0">
              <a:alpha val="54902"/>
            </a:srgbClr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6CDD114-CEF7-7C36-23B7-EF6A9B8807BB}"/>
              </a:ext>
            </a:extLst>
          </p:cNvPr>
          <p:cNvSpPr/>
          <p:nvPr/>
        </p:nvSpPr>
        <p:spPr>
          <a:xfrm>
            <a:off x="6904891" y="1652954"/>
            <a:ext cx="1336431" cy="4056185"/>
          </a:xfrm>
          <a:prstGeom prst="roundRect">
            <a:avLst/>
          </a:prstGeom>
          <a:solidFill>
            <a:srgbClr val="FFC6D0">
              <a:alpha val="54902"/>
            </a:srgbClr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8A1E568-4E4D-EDD3-67D6-DCCE3F3CF110}"/>
              </a:ext>
            </a:extLst>
          </p:cNvPr>
          <p:cNvGrpSpPr/>
          <p:nvPr/>
        </p:nvGrpSpPr>
        <p:grpSpPr>
          <a:xfrm>
            <a:off x="5861538" y="914485"/>
            <a:ext cx="2684585" cy="286011"/>
            <a:chOff x="5861538" y="914485"/>
            <a:chExt cx="2684585" cy="286011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CABBDE56-0B97-4720-2820-31A4D219D321}"/>
                </a:ext>
              </a:extLst>
            </p:cNvPr>
            <p:cNvCxnSpPr>
              <a:cxnSpLocks/>
            </p:cNvCxnSpPr>
            <p:nvPr/>
          </p:nvCxnSpPr>
          <p:spPr>
            <a:xfrm>
              <a:off x="5861538" y="1200496"/>
              <a:ext cx="268458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F2151AB-38F0-AEC8-16CF-E9436DABD980}"/>
                </a:ext>
              </a:extLst>
            </p:cNvPr>
            <p:cNvSpPr txBox="1"/>
            <p:nvPr/>
          </p:nvSpPr>
          <p:spPr>
            <a:xfrm>
              <a:off x="5967045" y="914485"/>
              <a:ext cx="2473569" cy="2560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GB" dirty="0" err="1"/>
                <a:t>Aplazamiento</a:t>
              </a:r>
              <a:r>
                <a:rPr lang="en-GB" dirty="0"/>
                <a:t> de </a:t>
              </a:r>
              <a:r>
                <a:rPr lang="en-GB" dirty="0" err="1"/>
                <a:t>Mortalidad</a:t>
              </a:r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51471906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C114F3-0D08-8F11-8862-1073A3170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53345-7E5C-FFCF-4573-ECBA8A458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 err="1"/>
              <a:t>Mortalidad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</a:t>
            </a:r>
            <a:r>
              <a:rPr lang="en-GB" dirty="0" err="1"/>
              <a:t>Cohortes</a:t>
            </a:r>
            <a:endParaRPr lang="en-GB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265647A2-29BA-30FC-B061-8ED64539D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278000" y="6450420"/>
            <a:ext cx="6656400" cy="144000"/>
          </a:xfrm>
        </p:spPr>
        <p:txBody>
          <a:bodyPr/>
          <a:lstStyle/>
          <a:p>
            <a:r>
              <a:rPr lang="en-US"/>
              <a:t>Source: Our World in Data, Life Expectancy</a:t>
            </a:r>
            <a:endParaRPr lang="en-GB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5B7B77E-031F-1BE0-00E3-125123291A5E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10" name="Group 4">
              <a:extLst>
                <a:ext uri="{FF2B5EF4-FFF2-40B4-BE49-F238E27FC236}">
                  <a16:creationId xmlns:a16="http://schemas.microsoft.com/office/drawing/2014/main" id="{78763176-FC74-5E0B-C5E9-D7F527A4B8B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2" name="Freeform 5">
                <a:extLst>
                  <a:ext uri="{FF2B5EF4-FFF2-40B4-BE49-F238E27FC236}">
                    <a16:creationId xmlns:a16="http://schemas.microsoft.com/office/drawing/2014/main" id="{5F588BB0-DD0A-2B49-62C7-8D30C85DFC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Freeform 6">
                <a:extLst>
                  <a:ext uri="{FF2B5EF4-FFF2-40B4-BE49-F238E27FC236}">
                    <a16:creationId xmlns:a16="http://schemas.microsoft.com/office/drawing/2014/main" id="{515BAA9F-B29A-D563-06EE-94BF7320A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7C674251-6888-7BBF-6F86-DDA77CDA24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0B1D4F57-9547-D689-7204-848621DF0D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8A01FEEF-F744-2630-6270-85B758527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C6B12848-CBB4-78AE-5A5E-69EDB76E7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8FFAD528-76A2-B491-E02C-FBD0EAA290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FF53A14-375A-3769-C817-6D3DFA74F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13">
                <a:extLst>
                  <a:ext uri="{FF2B5EF4-FFF2-40B4-BE49-F238E27FC236}">
                    <a16:creationId xmlns:a16="http://schemas.microsoft.com/office/drawing/2014/main" id="{1C68D5FB-62A7-0EC3-3999-98C5CE9CF9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14">
                <a:extLst>
                  <a:ext uri="{FF2B5EF4-FFF2-40B4-BE49-F238E27FC236}">
                    <a16:creationId xmlns:a16="http://schemas.microsoft.com/office/drawing/2014/main" id="{8621E889-5F0F-6759-C6BE-343AC4AE87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15">
                <a:extLst>
                  <a:ext uri="{FF2B5EF4-FFF2-40B4-BE49-F238E27FC236}">
                    <a16:creationId xmlns:a16="http://schemas.microsoft.com/office/drawing/2014/main" id="{5BCF2AA1-F4A3-5797-5D60-E3AD930D2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" name="Freeform 16">
                <a:extLst>
                  <a:ext uri="{FF2B5EF4-FFF2-40B4-BE49-F238E27FC236}">
                    <a16:creationId xmlns:a16="http://schemas.microsoft.com/office/drawing/2014/main" id="{ADCAEBA8-E9AA-2E85-2132-4E4BA9997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7B12BB9-A159-75A9-DF79-08C9EE50FF41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2E800EFB-9A75-06C5-5B85-0A81E95E79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644" y="1265106"/>
            <a:ext cx="9714711" cy="4857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91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1DE64A5-70FB-AB1E-3C6C-2488A8489596}"/>
              </a:ext>
            </a:extLst>
          </p:cNvPr>
          <p:cNvSpPr>
            <a:spLocks noChangeAspect="1"/>
          </p:cNvSpPr>
          <p:nvPr/>
        </p:nvSpPr>
        <p:spPr>
          <a:xfrm>
            <a:off x="2928830" y="1268364"/>
            <a:ext cx="2683763" cy="2314956"/>
          </a:xfrm>
          <a:custGeom>
            <a:avLst/>
            <a:gdLst>
              <a:gd name="connsiteX0" fmla="*/ 2390648 w 2683763"/>
              <a:gd name="connsiteY0" fmla="*/ 25400 h 2314956"/>
              <a:gd name="connsiteX1" fmla="*/ 2658364 w 2683763"/>
              <a:gd name="connsiteY1" fmla="*/ 293243 h 2314956"/>
              <a:gd name="connsiteX2" fmla="*/ 2658364 w 2683763"/>
              <a:gd name="connsiteY2" fmla="*/ 2021675 h 2314956"/>
              <a:gd name="connsiteX3" fmla="*/ 2580805 w 2683763"/>
              <a:gd name="connsiteY3" fmla="*/ 2210245 h 2314956"/>
              <a:gd name="connsiteX4" fmla="*/ 2540101 w 2683763"/>
              <a:gd name="connsiteY4" fmla="*/ 2243798 h 2314956"/>
              <a:gd name="connsiteX5" fmla="*/ 2493683 w 2683763"/>
              <a:gd name="connsiteY5" fmla="*/ 2268982 h 2314956"/>
              <a:gd name="connsiteX6" fmla="*/ 2390648 w 2683763"/>
              <a:gd name="connsiteY6" fmla="*/ 2289556 h 2314956"/>
              <a:gd name="connsiteX7" fmla="*/ 292227 w 2683763"/>
              <a:gd name="connsiteY7" fmla="*/ 2289556 h 2314956"/>
              <a:gd name="connsiteX8" fmla="*/ 189192 w 2683763"/>
              <a:gd name="connsiteY8" fmla="*/ 2268982 h 2314956"/>
              <a:gd name="connsiteX9" fmla="*/ 158737 w 2683763"/>
              <a:gd name="connsiteY9" fmla="*/ 2252447 h 2314956"/>
              <a:gd name="connsiteX10" fmla="*/ 128511 w 2683763"/>
              <a:gd name="connsiteY10" fmla="*/ 2232076 h 2314956"/>
              <a:gd name="connsiteX11" fmla="*/ 102108 w 2683763"/>
              <a:gd name="connsiteY11" fmla="*/ 2210270 h 2314956"/>
              <a:gd name="connsiteX12" fmla="*/ 30226 w 2683763"/>
              <a:gd name="connsiteY12" fmla="*/ 2076920 h 2314956"/>
              <a:gd name="connsiteX13" fmla="*/ 25400 w 2683763"/>
              <a:gd name="connsiteY13" fmla="*/ 2029562 h 2314956"/>
              <a:gd name="connsiteX14" fmla="*/ 25400 w 2683763"/>
              <a:gd name="connsiteY14" fmla="*/ 285395 h 2314956"/>
              <a:gd name="connsiteX15" fmla="*/ 30226 w 2683763"/>
              <a:gd name="connsiteY15" fmla="*/ 238062 h 2314956"/>
              <a:gd name="connsiteX16" fmla="*/ 292227 w 2683763"/>
              <a:gd name="connsiteY16" fmla="*/ 25400 h 2314956"/>
              <a:gd name="connsiteX17" fmla="*/ 2390648 w 2683763"/>
              <a:gd name="connsiteY17" fmla="*/ 25400 h 2314956"/>
              <a:gd name="connsiteX18" fmla="*/ 2390648 w 2683763"/>
              <a:gd name="connsiteY18" fmla="*/ 0 h 2314956"/>
              <a:gd name="connsiteX19" fmla="*/ 292227 w 2683763"/>
              <a:gd name="connsiteY19" fmla="*/ 0 h 2314956"/>
              <a:gd name="connsiteX20" fmla="*/ 5080 w 2683763"/>
              <a:gd name="connsiteY20" fmla="*/ 234188 h 2314956"/>
              <a:gd name="connsiteX21" fmla="*/ 0 w 2683763"/>
              <a:gd name="connsiteY21" fmla="*/ 284099 h 2314956"/>
              <a:gd name="connsiteX22" fmla="*/ 0 w 2683763"/>
              <a:gd name="connsiteY22" fmla="*/ 2030845 h 2314956"/>
              <a:gd name="connsiteX23" fmla="*/ 5080 w 2683763"/>
              <a:gd name="connsiteY23" fmla="*/ 2080781 h 2314956"/>
              <a:gd name="connsiteX24" fmla="*/ 84963 w 2683763"/>
              <a:gd name="connsiteY24" fmla="*/ 2229054 h 2314956"/>
              <a:gd name="connsiteX25" fmla="*/ 113284 w 2683763"/>
              <a:gd name="connsiteY25" fmla="*/ 2252447 h 2314956"/>
              <a:gd name="connsiteX26" fmla="*/ 145542 w 2683763"/>
              <a:gd name="connsiteY26" fmla="*/ 2274189 h 2314956"/>
              <a:gd name="connsiteX27" fmla="*/ 178181 w 2683763"/>
              <a:gd name="connsiteY27" fmla="*/ 2291906 h 2314956"/>
              <a:gd name="connsiteX28" fmla="*/ 292227 w 2683763"/>
              <a:gd name="connsiteY28" fmla="*/ 2314956 h 2314956"/>
              <a:gd name="connsiteX29" fmla="*/ 2390648 w 2683763"/>
              <a:gd name="connsiteY29" fmla="*/ 2314956 h 2314956"/>
              <a:gd name="connsiteX30" fmla="*/ 2504694 w 2683763"/>
              <a:gd name="connsiteY30" fmla="*/ 2291906 h 2314956"/>
              <a:gd name="connsiteX31" fmla="*/ 2554351 w 2683763"/>
              <a:gd name="connsiteY31" fmla="*/ 2264956 h 2314956"/>
              <a:gd name="connsiteX32" fmla="*/ 2554605 w 2683763"/>
              <a:gd name="connsiteY32" fmla="*/ 2264753 h 2314956"/>
              <a:gd name="connsiteX33" fmla="*/ 2597912 w 2683763"/>
              <a:gd name="connsiteY33" fmla="*/ 2229054 h 2314956"/>
              <a:gd name="connsiteX34" fmla="*/ 2683764 w 2683763"/>
              <a:gd name="connsiteY34" fmla="*/ 2021675 h 2314956"/>
              <a:gd name="connsiteX35" fmla="*/ 2683764 w 2683763"/>
              <a:gd name="connsiteY35" fmla="*/ 293243 h 2314956"/>
              <a:gd name="connsiteX36" fmla="*/ 2390648 w 2683763"/>
              <a:gd name="connsiteY36" fmla="*/ 0 h 2314956"/>
              <a:gd name="connsiteX37" fmla="*/ 2390648 w 2683763"/>
              <a:gd name="connsiteY37" fmla="*/ 0 h 2314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683763" h="2314956">
                <a:moveTo>
                  <a:pt x="2390648" y="25400"/>
                </a:moveTo>
                <a:cubicBezTo>
                  <a:pt x="2538273" y="25400"/>
                  <a:pt x="2658364" y="145555"/>
                  <a:pt x="2658364" y="293243"/>
                </a:cubicBezTo>
                <a:lnTo>
                  <a:pt x="2658364" y="2021675"/>
                </a:lnTo>
                <a:cubicBezTo>
                  <a:pt x="2658364" y="2092872"/>
                  <a:pt x="2630831" y="2159788"/>
                  <a:pt x="2580805" y="2210245"/>
                </a:cubicBezTo>
                <a:lnTo>
                  <a:pt x="2540101" y="2243798"/>
                </a:lnTo>
                <a:lnTo>
                  <a:pt x="2493683" y="2268982"/>
                </a:lnTo>
                <a:cubicBezTo>
                  <a:pt x="2461044" y="2282635"/>
                  <a:pt x="2426386" y="2289556"/>
                  <a:pt x="2390648" y="2289556"/>
                </a:cubicBezTo>
                <a:lnTo>
                  <a:pt x="292227" y="2289556"/>
                </a:lnTo>
                <a:cubicBezTo>
                  <a:pt x="256489" y="2289556"/>
                  <a:pt x="221831" y="2282635"/>
                  <a:pt x="189192" y="2268982"/>
                </a:cubicBezTo>
                <a:lnTo>
                  <a:pt x="158737" y="2252447"/>
                </a:lnTo>
                <a:lnTo>
                  <a:pt x="128511" y="2232076"/>
                </a:lnTo>
                <a:lnTo>
                  <a:pt x="102108" y="2210270"/>
                </a:lnTo>
                <a:cubicBezTo>
                  <a:pt x="65570" y="2173377"/>
                  <a:pt x="40741" y="2127314"/>
                  <a:pt x="30226" y="2076920"/>
                </a:cubicBezTo>
                <a:lnTo>
                  <a:pt x="25400" y="2029562"/>
                </a:lnTo>
                <a:lnTo>
                  <a:pt x="25400" y="285395"/>
                </a:lnTo>
                <a:lnTo>
                  <a:pt x="30226" y="238062"/>
                </a:lnTo>
                <a:cubicBezTo>
                  <a:pt x="56019" y="114757"/>
                  <a:pt x="166014" y="25400"/>
                  <a:pt x="292227" y="25400"/>
                </a:cubicBezTo>
                <a:lnTo>
                  <a:pt x="2390648" y="25400"/>
                </a:lnTo>
                <a:moveTo>
                  <a:pt x="2390648" y="0"/>
                </a:moveTo>
                <a:lnTo>
                  <a:pt x="292227" y="0"/>
                </a:lnTo>
                <a:cubicBezTo>
                  <a:pt x="150622" y="0"/>
                  <a:pt x="32385" y="100584"/>
                  <a:pt x="5080" y="234188"/>
                </a:cubicBezTo>
                <a:lnTo>
                  <a:pt x="0" y="284099"/>
                </a:lnTo>
                <a:lnTo>
                  <a:pt x="0" y="2030845"/>
                </a:lnTo>
                <a:lnTo>
                  <a:pt x="5080" y="2080781"/>
                </a:lnTo>
                <a:cubicBezTo>
                  <a:pt x="16764" y="2138058"/>
                  <a:pt x="45212" y="2189252"/>
                  <a:pt x="84963" y="2229054"/>
                </a:cubicBezTo>
                <a:lnTo>
                  <a:pt x="113284" y="2252447"/>
                </a:lnTo>
                <a:lnTo>
                  <a:pt x="145542" y="2274189"/>
                </a:lnTo>
                <a:lnTo>
                  <a:pt x="178181" y="2291906"/>
                </a:lnTo>
                <a:cubicBezTo>
                  <a:pt x="213233" y="2306752"/>
                  <a:pt x="251714" y="2314956"/>
                  <a:pt x="292227" y="2314956"/>
                </a:cubicBezTo>
                <a:lnTo>
                  <a:pt x="2390648" y="2314956"/>
                </a:lnTo>
                <a:cubicBezTo>
                  <a:pt x="2431034" y="2314956"/>
                  <a:pt x="2469642" y="2306752"/>
                  <a:pt x="2504694" y="2291906"/>
                </a:cubicBezTo>
                <a:lnTo>
                  <a:pt x="2554351" y="2264956"/>
                </a:lnTo>
                <a:lnTo>
                  <a:pt x="2554605" y="2264753"/>
                </a:lnTo>
                <a:lnTo>
                  <a:pt x="2597912" y="2229054"/>
                </a:lnTo>
                <a:cubicBezTo>
                  <a:pt x="2650998" y="2175980"/>
                  <a:pt x="2683764" y="2102663"/>
                  <a:pt x="2683764" y="2021675"/>
                </a:cubicBezTo>
                <a:lnTo>
                  <a:pt x="2683764" y="293243"/>
                </a:lnTo>
                <a:cubicBezTo>
                  <a:pt x="2683764" y="131318"/>
                  <a:pt x="2552573" y="0"/>
                  <a:pt x="2390648" y="0"/>
                </a:cubicBezTo>
                <a:lnTo>
                  <a:pt x="2390648" y="0"/>
                </a:lnTo>
                <a:close/>
              </a:path>
            </a:pathLst>
          </a:custGeom>
          <a:solidFill>
            <a:srgbClr val="858900"/>
          </a:solidFill>
          <a:ln w="12700" cap="flat">
            <a:noFill/>
            <a:prstDash val="solid"/>
            <a:miter/>
          </a:ln>
        </p:spPr>
        <p:txBody>
          <a:bodyPr lIns="144000" tIns="144000" rIns="144000" bIns="144000" rtlCol="0" anchor="ctr"/>
          <a:lstStyle/>
          <a:p>
            <a:pPr lvl="4"/>
            <a:r>
              <a:rPr lang="en-GB" sz="1800" dirty="0"/>
              <a:t>Variables </a:t>
            </a:r>
            <a:r>
              <a:rPr lang="en-GB" sz="1800" dirty="0" err="1"/>
              <a:t>biológicas</a:t>
            </a:r>
            <a:r>
              <a:rPr lang="en-GB" sz="1800" dirty="0"/>
              <a:t> </a:t>
            </a:r>
            <a:r>
              <a:rPr lang="en-GB" sz="1800" dirty="0" err="1"/>
              <a:t>intrínsecas</a:t>
            </a:r>
            <a:endParaRPr lang="en-GB" sz="1800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5B4500F0-AAF3-8F04-BAE2-6F181BB1137C}"/>
              </a:ext>
            </a:extLst>
          </p:cNvPr>
          <p:cNvSpPr>
            <a:spLocks noChangeAspect="1"/>
          </p:cNvSpPr>
          <p:nvPr/>
        </p:nvSpPr>
        <p:spPr>
          <a:xfrm>
            <a:off x="2928830" y="4270559"/>
            <a:ext cx="2683763" cy="2314956"/>
          </a:xfrm>
          <a:custGeom>
            <a:avLst/>
            <a:gdLst>
              <a:gd name="connsiteX0" fmla="*/ 2390648 w 2683763"/>
              <a:gd name="connsiteY0" fmla="*/ 25400 h 2314956"/>
              <a:gd name="connsiteX1" fmla="*/ 2658364 w 2683763"/>
              <a:gd name="connsiteY1" fmla="*/ 293243 h 2314956"/>
              <a:gd name="connsiteX2" fmla="*/ 2658364 w 2683763"/>
              <a:gd name="connsiteY2" fmla="*/ 2021675 h 2314956"/>
              <a:gd name="connsiteX3" fmla="*/ 2580805 w 2683763"/>
              <a:gd name="connsiteY3" fmla="*/ 2210245 h 2314956"/>
              <a:gd name="connsiteX4" fmla="*/ 2540101 w 2683763"/>
              <a:gd name="connsiteY4" fmla="*/ 2243798 h 2314956"/>
              <a:gd name="connsiteX5" fmla="*/ 2493683 w 2683763"/>
              <a:gd name="connsiteY5" fmla="*/ 2268982 h 2314956"/>
              <a:gd name="connsiteX6" fmla="*/ 2390648 w 2683763"/>
              <a:gd name="connsiteY6" fmla="*/ 2289556 h 2314956"/>
              <a:gd name="connsiteX7" fmla="*/ 292227 w 2683763"/>
              <a:gd name="connsiteY7" fmla="*/ 2289556 h 2314956"/>
              <a:gd name="connsiteX8" fmla="*/ 189192 w 2683763"/>
              <a:gd name="connsiteY8" fmla="*/ 2268982 h 2314956"/>
              <a:gd name="connsiteX9" fmla="*/ 158737 w 2683763"/>
              <a:gd name="connsiteY9" fmla="*/ 2252447 h 2314956"/>
              <a:gd name="connsiteX10" fmla="*/ 128511 w 2683763"/>
              <a:gd name="connsiteY10" fmla="*/ 2232076 h 2314956"/>
              <a:gd name="connsiteX11" fmla="*/ 102108 w 2683763"/>
              <a:gd name="connsiteY11" fmla="*/ 2210270 h 2314956"/>
              <a:gd name="connsiteX12" fmla="*/ 30226 w 2683763"/>
              <a:gd name="connsiteY12" fmla="*/ 2076920 h 2314956"/>
              <a:gd name="connsiteX13" fmla="*/ 25400 w 2683763"/>
              <a:gd name="connsiteY13" fmla="*/ 2029562 h 2314956"/>
              <a:gd name="connsiteX14" fmla="*/ 25400 w 2683763"/>
              <a:gd name="connsiteY14" fmla="*/ 285395 h 2314956"/>
              <a:gd name="connsiteX15" fmla="*/ 30226 w 2683763"/>
              <a:gd name="connsiteY15" fmla="*/ 238062 h 2314956"/>
              <a:gd name="connsiteX16" fmla="*/ 292227 w 2683763"/>
              <a:gd name="connsiteY16" fmla="*/ 25400 h 2314956"/>
              <a:gd name="connsiteX17" fmla="*/ 2390648 w 2683763"/>
              <a:gd name="connsiteY17" fmla="*/ 25400 h 2314956"/>
              <a:gd name="connsiteX18" fmla="*/ 2390648 w 2683763"/>
              <a:gd name="connsiteY18" fmla="*/ 0 h 2314956"/>
              <a:gd name="connsiteX19" fmla="*/ 292227 w 2683763"/>
              <a:gd name="connsiteY19" fmla="*/ 0 h 2314956"/>
              <a:gd name="connsiteX20" fmla="*/ 5080 w 2683763"/>
              <a:gd name="connsiteY20" fmla="*/ 234188 h 2314956"/>
              <a:gd name="connsiteX21" fmla="*/ 0 w 2683763"/>
              <a:gd name="connsiteY21" fmla="*/ 284099 h 2314956"/>
              <a:gd name="connsiteX22" fmla="*/ 0 w 2683763"/>
              <a:gd name="connsiteY22" fmla="*/ 2030845 h 2314956"/>
              <a:gd name="connsiteX23" fmla="*/ 5080 w 2683763"/>
              <a:gd name="connsiteY23" fmla="*/ 2080781 h 2314956"/>
              <a:gd name="connsiteX24" fmla="*/ 84963 w 2683763"/>
              <a:gd name="connsiteY24" fmla="*/ 2229054 h 2314956"/>
              <a:gd name="connsiteX25" fmla="*/ 113284 w 2683763"/>
              <a:gd name="connsiteY25" fmla="*/ 2252447 h 2314956"/>
              <a:gd name="connsiteX26" fmla="*/ 145542 w 2683763"/>
              <a:gd name="connsiteY26" fmla="*/ 2274189 h 2314956"/>
              <a:gd name="connsiteX27" fmla="*/ 178181 w 2683763"/>
              <a:gd name="connsiteY27" fmla="*/ 2291906 h 2314956"/>
              <a:gd name="connsiteX28" fmla="*/ 292227 w 2683763"/>
              <a:gd name="connsiteY28" fmla="*/ 2314956 h 2314956"/>
              <a:gd name="connsiteX29" fmla="*/ 2390648 w 2683763"/>
              <a:gd name="connsiteY29" fmla="*/ 2314956 h 2314956"/>
              <a:gd name="connsiteX30" fmla="*/ 2504694 w 2683763"/>
              <a:gd name="connsiteY30" fmla="*/ 2291906 h 2314956"/>
              <a:gd name="connsiteX31" fmla="*/ 2554351 w 2683763"/>
              <a:gd name="connsiteY31" fmla="*/ 2264956 h 2314956"/>
              <a:gd name="connsiteX32" fmla="*/ 2554605 w 2683763"/>
              <a:gd name="connsiteY32" fmla="*/ 2264753 h 2314956"/>
              <a:gd name="connsiteX33" fmla="*/ 2597912 w 2683763"/>
              <a:gd name="connsiteY33" fmla="*/ 2229054 h 2314956"/>
              <a:gd name="connsiteX34" fmla="*/ 2683764 w 2683763"/>
              <a:gd name="connsiteY34" fmla="*/ 2021675 h 2314956"/>
              <a:gd name="connsiteX35" fmla="*/ 2683764 w 2683763"/>
              <a:gd name="connsiteY35" fmla="*/ 293243 h 2314956"/>
              <a:gd name="connsiteX36" fmla="*/ 2390648 w 2683763"/>
              <a:gd name="connsiteY36" fmla="*/ 0 h 2314956"/>
              <a:gd name="connsiteX37" fmla="*/ 2390648 w 2683763"/>
              <a:gd name="connsiteY37" fmla="*/ 0 h 2314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683763" h="2314956">
                <a:moveTo>
                  <a:pt x="2390648" y="25400"/>
                </a:moveTo>
                <a:cubicBezTo>
                  <a:pt x="2538273" y="25400"/>
                  <a:pt x="2658364" y="145555"/>
                  <a:pt x="2658364" y="293243"/>
                </a:cubicBezTo>
                <a:lnTo>
                  <a:pt x="2658364" y="2021675"/>
                </a:lnTo>
                <a:cubicBezTo>
                  <a:pt x="2658364" y="2092872"/>
                  <a:pt x="2630831" y="2159788"/>
                  <a:pt x="2580805" y="2210245"/>
                </a:cubicBezTo>
                <a:lnTo>
                  <a:pt x="2540101" y="2243798"/>
                </a:lnTo>
                <a:lnTo>
                  <a:pt x="2493683" y="2268982"/>
                </a:lnTo>
                <a:cubicBezTo>
                  <a:pt x="2461044" y="2282635"/>
                  <a:pt x="2426386" y="2289556"/>
                  <a:pt x="2390648" y="2289556"/>
                </a:cubicBezTo>
                <a:lnTo>
                  <a:pt x="292227" y="2289556"/>
                </a:lnTo>
                <a:cubicBezTo>
                  <a:pt x="256489" y="2289556"/>
                  <a:pt x="221831" y="2282635"/>
                  <a:pt x="189192" y="2268982"/>
                </a:cubicBezTo>
                <a:lnTo>
                  <a:pt x="158737" y="2252447"/>
                </a:lnTo>
                <a:lnTo>
                  <a:pt x="128511" y="2232076"/>
                </a:lnTo>
                <a:lnTo>
                  <a:pt x="102108" y="2210270"/>
                </a:lnTo>
                <a:cubicBezTo>
                  <a:pt x="65570" y="2173377"/>
                  <a:pt x="40741" y="2127314"/>
                  <a:pt x="30226" y="2076920"/>
                </a:cubicBezTo>
                <a:lnTo>
                  <a:pt x="25400" y="2029562"/>
                </a:lnTo>
                <a:lnTo>
                  <a:pt x="25400" y="285395"/>
                </a:lnTo>
                <a:lnTo>
                  <a:pt x="30226" y="238062"/>
                </a:lnTo>
                <a:cubicBezTo>
                  <a:pt x="56019" y="114757"/>
                  <a:pt x="166014" y="25400"/>
                  <a:pt x="292227" y="25400"/>
                </a:cubicBezTo>
                <a:lnTo>
                  <a:pt x="2390648" y="25400"/>
                </a:lnTo>
                <a:moveTo>
                  <a:pt x="2390648" y="0"/>
                </a:moveTo>
                <a:lnTo>
                  <a:pt x="292227" y="0"/>
                </a:lnTo>
                <a:cubicBezTo>
                  <a:pt x="150622" y="0"/>
                  <a:pt x="32385" y="100584"/>
                  <a:pt x="5080" y="234188"/>
                </a:cubicBezTo>
                <a:lnTo>
                  <a:pt x="0" y="284099"/>
                </a:lnTo>
                <a:lnTo>
                  <a:pt x="0" y="2030845"/>
                </a:lnTo>
                <a:lnTo>
                  <a:pt x="5080" y="2080781"/>
                </a:lnTo>
                <a:cubicBezTo>
                  <a:pt x="16764" y="2138058"/>
                  <a:pt x="45212" y="2189252"/>
                  <a:pt x="84963" y="2229054"/>
                </a:cubicBezTo>
                <a:lnTo>
                  <a:pt x="113284" y="2252447"/>
                </a:lnTo>
                <a:lnTo>
                  <a:pt x="145542" y="2274189"/>
                </a:lnTo>
                <a:lnTo>
                  <a:pt x="178181" y="2291906"/>
                </a:lnTo>
                <a:cubicBezTo>
                  <a:pt x="213233" y="2306752"/>
                  <a:pt x="251714" y="2314956"/>
                  <a:pt x="292227" y="2314956"/>
                </a:cubicBezTo>
                <a:lnTo>
                  <a:pt x="2390648" y="2314956"/>
                </a:lnTo>
                <a:cubicBezTo>
                  <a:pt x="2431034" y="2314956"/>
                  <a:pt x="2469642" y="2306752"/>
                  <a:pt x="2504694" y="2291906"/>
                </a:cubicBezTo>
                <a:lnTo>
                  <a:pt x="2554351" y="2264956"/>
                </a:lnTo>
                <a:lnTo>
                  <a:pt x="2554605" y="2264753"/>
                </a:lnTo>
                <a:lnTo>
                  <a:pt x="2597912" y="2229054"/>
                </a:lnTo>
                <a:cubicBezTo>
                  <a:pt x="2650998" y="2175980"/>
                  <a:pt x="2683764" y="2102663"/>
                  <a:pt x="2683764" y="2021675"/>
                </a:cubicBezTo>
                <a:lnTo>
                  <a:pt x="2683764" y="293243"/>
                </a:lnTo>
                <a:cubicBezTo>
                  <a:pt x="2683764" y="131318"/>
                  <a:pt x="2552573" y="0"/>
                  <a:pt x="2390648" y="0"/>
                </a:cubicBezTo>
                <a:lnTo>
                  <a:pt x="2390648" y="0"/>
                </a:lnTo>
                <a:close/>
              </a:path>
            </a:pathLst>
          </a:custGeom>
          <a:solidFill>
            <a:srgbClr val="858900"/>
          </a:solidFill>
          <a:ln w="12700" cap="flat">
            <a:noFill/>
            <a:prstDash val="solid"/>
            <a:miter/>
          </a:ln>
        </p:spPr>
        <p:txBody>
          <a:bodyPr lIns="144000" tIns="144000" rIns="144000" bIns="144000" rtlCol="0" anchor="ctr"/>
          <a:lstStyle/>
          <a:p>
            <a:pPr lvl="4"/>
            <a:r>
              <a:rPr lang="en-GB" sz="1800" dirty="0" err="1"/>
              <a:t>Dimensión</a:t>
            </a:r>
            <a:r>
              <a:rPr lang="en-GB" sz="1800" dirty="0"/>
              <a:t> socia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B8C868E-0E52-10EC-89A1-77756BDFF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 err="1"/>
              <a:t>Hech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la </a:t>
            </a:r>
            <a:r>
              <a:rPr lang="en-GB" dirty="0" err="1"/>
              <a:t>Mortalidad</a:t>
            </a:r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BFCA328-BBF5-5B2A-008B-236BCFB1C24C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17" name="Group 4">
              <a:extLst>
                <a:ext uri="{FF2B5EF4-FFF2-40B4-BE49-F238E27FC236}">
                  <a16:creationId xmlns:a16="http://schemas.microsoft.com/office/drawing/2014/main" id="{F796F1D8-C94F-0EC6-63AE-7499BC95D25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FF886FA3-433B-DE2A-581E-41D4B24B9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927CBDDF-A2DC-D289-103C-9F1A3222F4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7">
                <a:extLst>
                  <a:ext uri="{FF2B5EF4-FFF2-40B4-BE49-F238E27FC236}">
                    <a16:creationId xmlns:a16="http://schemas.microsoft.com/office/drawing/2014/main" id="{2C00028C-C041-E6CD-96C2-9D5AED4A5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AC479990-0225-CA63-C2FE-31FCD9970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56557114-FA3D-B31D-041A-41B3CA11A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C5315AAC-436F-2203-B999-D3A574478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5" name="Freeform 11">
                <a:extLst>
                  <a:ext uri="{FF2B5EF4-FFF2-40B4-BE49-F238E27FC236}">
                    <a16:creationId xmlns:a16="http://schemas.microsoft.com/office/drawing/2014/main" id="{95E3B237-100B-EED6-50ED-BEEEF9BCE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6" name="Freeform 12">
                <a:extLst>
                  <a:ext uri="{FF2B5EF4-FFF2-40B4-BE49-F238E27FC236}">
                    <a16:creationId xmlns:a16="http://schemas.microsoft.com/office/drawing/2014/main" id="{4AB07101-27AE-616B-942C-616285631D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7" name="Freeform 13">
                <a:extLst>
                  <a:ext uri="{FF2B5EF4-FFF2-40B4-BE49-F238E27FC236}">
                    <a16:creationId xmlns:a16="http://schemas.microsoft.com/office/drawing/2014/main" id="{F4A38887-624D-6CAD-5F95-288086C079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14">
                <a:extLst>
                  <a:ext uri="{FF2B5EF4-FFF2-40B4-BE49-F238E27FC236}">
                    <a16:creationId xmlns:a16="http://schemas.microsoft.com/office/drawing/2014/main" id="{5E72EA24-9F9C-A50C-1B1C-678526569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15">
                <a:extLst>
                  <a:ext uri="{FF2B5EF4-FFF2-40B4-BE49-F238E27FC236}">
                    <a16:creationId xmlns:a16="http://schemas.microsoft.com/office/drawing/2014/main" id="{153448F9-A849-55C2-83EF-8D7B6CF79C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16">
                <a:extLst>
                  <a:ext uri="{FF2B5EF4-FFF2-40B4-BE49-F238E27FC236}">
                    <a16:creationId xmlns:a16="http://schemas.microsoft.com/office/drawing/2014/main" id="{59C74801-EB1F-4544-19BA-0227F4192F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04F1C47-896F-3359-31D3-9858BBB40AEE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64E7E13-14EC-AECC-472C-F08DC47A4AA4}"/>
              </a:ext>
            </a:extLst>
          </p:cNvPr>
          <p:cNvGrpSpPr/>
          <p:nvPr/>
        </p:nvGrpSpPr>
        <p:grpSpPr>
          <a:xfrm>
            <a:off x="4021015" y="3669323"/>
            <a:ext cx="410308" cy="410308"/>
            <a:chOff x="4021015" y="3669323"/>
            <a:chExt cx="410308" cy="410308"/>
          </a:xfrm>
        </p:grpSpPr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8E2F5A78-034F-63F6-EA04-4DA491BD3807}"/>
                </a:ext>
              </a:extLst>
            </p:cNvPr>
            <p:cNvCxnSpPr/>
            <p:nvPr/>
          </p:nvCxnSpPr>
          <p:spPr>
            <a:xfrm>
              <a:off x="4021015" y="3692769"/>
              <a:ext cx="0" cy="3868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721F7B6F-E56B-087B-1D33-156375D77B59}"/>
                </a:ext>
              </a:extLst>
            </p:cNvPr>
            <p:cNvCxnSpPr/>
            <p:nvPr/>
          </p:nvCxnSpPr>
          <p:spPr>
            <a:xfrm flipV="1">
              <a:off x="4431323" y="3669323"/>
              <a:ext cx="0" cy="41030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9983065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3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63543-CCFC-B66C-83F1-D00DC573FB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A5F1B6-3379-67BC-E61E-70B17C424AE8}"/>
              </a:ext>
            </a:extLst>
          </p:cNvPr>
          <p:cNvSpPr>
            <a:spLocks noChangeAspect="1"/>
          </p:cNvSpPr>
          <p:nvPr/>
        </p:nvSpPr>
        <p:spPr>
          <a:xfrm>
            <a:off x="2928830" y="1268364"/>
            <a:ext cx="2683763" cy="2314956"/>
          </a:xfrm>
          <a:custGeom>
            <a:avLst/>
            <a:gdLst>
              <a:gd name="connsiteX0" fmla="*/ 2390648 w 2683763"/>
              <a:gd name="connsiteY0" fmla="*/ 25400 h 2314956"/>
              <a:gd name="connsiteX1" fmla="*/ 2658364 w 2683763"/>
              <a:gd name="connsiteY1" fmla="*/ 293243 h 2314956"/>
              <a:gd name="connsiteX2" fmla="*/ 2658364 w 2683763"/>
              <a:gd name="connsiteY2" fmla="*/ 2021675 h 2314956"/>
              <a:gd name="connsiteX3" fmla="*/ 2580805 w 2683763"/>
              <a:gd name="connsiteY3" fmla="*/ 2210245 h 2314956"/>
              <a:gd name="connsiteX4" fmla="*/ 2540101 w 2683763"/>
              <a:gd name="connsiteY4" fmla="*/ 2243798 h 2314956"/>
              <a:gd name="connsiteX5" fmla="*/ 2493683 w 2683763"/>
              <a:gd name="connsiteY5" fmla="*/ 2268982 h 2314956"/>
              <a:gd name="connsiteX6" fmla="*/ 2390648 w 2683763"/>
              <a:gd name="connsiteY6" fmla="*/ 2289556 h 2314956"/>
              <a:gd name="connsiteX7" fmla="*/ 292227 w 2683763"/>
              <a:gd name="connsiteY7" fmla="*/ 2289556 h 2314956"/>
              <a:gd name="connsiteX8" fmla="*/ 189192 w 2683763"/>
              <a:gd name="connsiteY8" fmla="*/ 2268982 h 2314956"/>
              <a:gd name="connsiteX9" fmla="*/ 158737 w 2683763"/>
              <a:gd name="connsiteY9" fmla="*/ 2252447 h 2314956"/>
              <a:gd name="connsiteX10" fmla="*/ 128511 w 2683763"/>
              <a:gd name="connsiteY10" fmla="*/ 2232076 h 2314956"/>
              <a:gd name="connsiteX11" fmla="*/ 102108 w 2683763"/>
              <a:gd name="connsiteY11" fmla="*/ 2210270 h 2314956"/>
              <a:gd name="connsiteX12" fmla="*/ 30226 w 2683763"/>
              <a:gd name="connsiteY12" fmla="*/ 2076920 h 2314956"/>
              <a:gd name="connsiteX13" fmla="*/ 25400 w 2683763"/>
              <a:gd name="connsiteY13" fmla="*/ 2029562 h 2314956"/>
              <a:gd name="connsiteX14" fmla="*/ 25400 w 2683763"/>
              <a:gd name="connsiteY14" fmla="*/ 285395 h 2314956"/>
              <a:gd name="connsiteX15" fmla="*/ 30226 w 2683763"/>
              <a:gd name="connsiteY15" fmla="*/ 238062 h 2314956"/>
              <a:gd name="connsiteX16" fmla="*/ 292227 w 2683763"/>
              <a:gd name="connsiteY16" fmla="*/ 25400 h 2314956"/>
              <a:gd name="connsiteX17" fmla="*/ 2390648 w 2683763"/>
              <a:gd name="connsiteY17" fmla="*/ 25400 h 2314956"/>
              <a:gd name="connsiteX18" fmla="*/ 2390648 w 2683763"/>
              <a:gd name="connsiteY18" fmla="*/ 0 h 2314956"/>
              <a:gd name="connsiteX19" fmla="*/ 292227 w 2683763"/>
              <a:gd name="connsiteY19" fmla="*/ 0 h 2314956"/>
              <a:gd name="connsiteX20" fmla="*/ 5080 w 2683763"/>
              <a:gd name="connsiteY20" fmla="*/ 234188 h 2314956"/>
              <a:gd name="connsiteX21" fmla="*/ 0 w 2683763"/>
              <a:gd name="connsiteY21" fmla="*/ 284099 h 2314956"/>
              <a:gd name="connsiteX22" fmla="*/ 0 w 2683763"/>
              <a:gd name="connsiteY22" fmla="*/ 2030845 h 2314956"/>
              <a:gd name="connsiteX23" fmla="*/ 5080 w 2683763"/>
              <a:gd name="connsiteY23" fmla="*/ 2080781 h 2314956"/>
              <a:gd name="connsiteX24" fmla="*/ 84963 w 2683763"/>
              <a:gd name="connsiteY24" fmla="*/ 2229054 h 2314956"/>
              <a:gd name="connsiteX25" fmla="*/ 113284 w 2683763"/>
              <a:gd name="connsiteY25" fmla="*/ 2252447 h 2314956"/>
              <a:gd name="connsiteX26" fmla="*/ 145542 w 2683763"/>
              <a:gd name="connsiteY26" fmla="*/ 2274189 h 2314956"/>
              <a:gd name="connsiteX27" fmla="*/ 178181 w 2683763"/>
              <a:gd name="connsiteY27" fmla="*/ 2291906 h 2314956"/>
              <a:gd name="connsiteX28" fmla="*/ 292227 w 2683763"/>
              <a:gd name="connsiteY28" fmla="*/ 2314956 h 2314956"/>
              <a:gd name="connsiteX29" fmla="*/ 2390648 w 2683763"/>
              <a:gd name="connsiteY29" fmla="*/ 2314956 h 2314956"/>
              <a:gd name="connsiteX30" fmla="*/ 2504694 w 2683763"/>
              <a:gd name="connsiteY30" fmla="*/ 2291906 h 2314956"/>
              <a:gd name="connsiteX31" fmla="*/ 2554351 w 2683763"/>
              <a:gd name="connsiteY31" fmla="*/ 2264956 h 2314956"/>
              <a:gd name="connsiteX32" fmla="*/ 2554605 w 2683763"/>
              <a:gd name="connsiteY32" fmla="*/ 2264753 h 2314956"/>
              <a:gd name="connsiteX33" fmla="*/ 2597912 w 2683763"/>
              <a:gd name="connsiteY33" fmla="*/ 2229054 h 2314956"/>
              <a:gd name="connsiteX34" fmla="*/ 2683764 w 2683763"/>
              <a:gd name="connsiteY34" fmla="*/ 2021675 h 2314956"/>
              <a:gd name="connsiteX35" fmla="*/ 2683764 w 2683763"/>
              <a:gd name="connsiteY35" fmla="*/ 293243 h 2314956"/>
              <a:gd name="connsiteX36" fmla="*/ 2390648 w 2683763"/>
              <a:gd name="connsiteY36" fmla="*/ 0 h 2314956"/>
              <a:gd name="connsiteX37" fmla="*/ 2390648 w 2683763"/>
              <a:gd name="connsiteY37" fmla="*/ 0 h 2314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683763" h="2314956">
                <a:moveTo>
                  <a:pt x="2390648" y="25400"/>
                </a:moveTo>
                <a:cubicBezTo>
                  <a:pt x="2538273" y="25400"/>
                  <a:pt x="2658364" y="145555"/>
                  <a:pt x="2658364" y="293243"/>
                </a:cubicBezTo>
                <a:lnTo>
                  <a:pt x="2658364" y="2021675"/>
                </a:lnTo>
                <a:cubicBezTo>
                  <a:pt x="2658364" y="2092872"/>
                  <a:pt x="2630831" y="2159788"/>
                  <a:pt x="2580805" y="2210245"/>
                </a:cubicBezTo>
                <a:lnTo>
                  <a:pt x="2540101" y="2243798"/>
                </a:lnTo>
                <a:lnTo>
                  <a:pt x="2493683" y="2268982"/>
                </a:lnTo>
                <a:cubicBezTo>
                  <a:pt x="2461044" y="2282635"/>
                  <a:pt x="2426386" y="2289556"/>
                  <a:pt x="2390648" y="2289556"/>
                </a:cubicBezTo>
                <a:lnTo>
                  <a:pt x="292227" y="2289556"/>
                </a:lnTo>
                <a:cubicBezTo>
                  <a:pt x="256489" y="2289556"/>
                  <a:pt x="221831" y="2282635"/>
                  <a:pt x="189192" y="2268982"/>
                </a:cubicBezTo>
                <a:lnTo>
                  <a:pt x="158737" y="2252447"/>
                </a:lnTo>
                <a:lnTo>
                  <a:pt x="128511" y="2232076"/>
                </a:lnTo>
                <a:lnTo>
                  <a:pt x="102108" y="2210270"/>
                </a:lnTo>
                <a:cubicBezTo>
                  <a:pt x="65570" y="2173377"/>
                  <a:pt x="40741" y="2127314"/>
                  <a:pt x="30226" y="2076920"/>
                </a:cubicBezTo>
                <a:lnTo>
                  <a:pt x="25400" y="2029562"/>
                </a:lnTo>
                <a:lnTo>
                  <a:pt x="25400" y="285395"/>
                </a:lnTo>
                <a:lnTo>
                  <a:pt x="30226" y="238062"/>
                </a:lnTo>
                <a:cubicBezTo>
                  <a:pt x="56019" y="114757"/>
                  <a:pt x="166014" y="25400"/>
                  <a:pt x="292227" y="25400"/>
                </a:cubicBezTo>
                <a:lnTo>
                  <a:pt x="2390648" y="25400"/>
                </a:lnTo>
                <a:moveTo>
                  <a:pt x="2390648" y="0"/>
                </a:moveTo>
                <a:lnTo>
                  <a:pt x="292227" y="0"/>
                </a:lnTo>
                <a:cubicBezTo>
                  <a:pt x="150622" y="0"/>
                  <a:pt x="32385" y="100584"/>
                  <a:pt x="5080" y="234188"/>
                </a:cubicBezTo>
                <a:lnTo>
                  <a:pt x="0" y="284099"/>
                </a:lnTo>
                <a:lnTo>
                  <a:pt x="0" y="2030845"/>
                </a:lnTo>
                <a:lnTo>
                  <a:pt x="5080" y="2080781"/>
                </a:lnTo>
                <a:cubicBezTo>
                  <a:pt x="16764" y="2138058"/>
                  <a:pt x="45212" y="2189252"/>
                  <a:pt x="84963" y="2229054"/>
                </a:cubicBezTo>
                <a:lnTo>
                  <a:pt x="113284" y="2252447"/>
                </a:lnTo>
                <a:lnTo>
                  <a:pt x="145542" y="2274189"/>
                </a:lnTo>
                <a:lnTo>
                  <a:pt x="178181" y="2291906"/>
                </a:lnTo>
                <a:cubicBezTo>
                  <a:pt x="213233" y="2306752"/>
                  <a:pt x="251714" y="2314956"/>
                  <a:pt x="292227" y="2314956"/>
                </a:cubicBezTo>
                <a:lnTo>
                  <a:pt x="2390648" y="2314956"/>
                </a:lnTo>
                <a:cubicBezTo>
                  <a:pt x="2431034" y="2314956"/>
                  <a:pt x="2469642" y="2306752"/>
                  <a:pt x="2504694" y="2291906"/>
                </a:cubicBezTo>
                <a:lnTo>
                  <a:pt x="2554351" y="2264956"/>
                </a:lnTo>
                <a:lnTo>
                  <a:pt x="2554605" y="2264753"/>
                </a:lnTo>
                <a:lnTo>
                  <a:pt x="2597912" y="2229054"/>
                </a:lnTo>
                <a:cubicBezTo>
                  <a:pt x="2650998" y="2175980"/>
                  <a:pt x="2683764" y="2102663"/>
                  <a:pt x="2683764" y="2021675"/>
                </a:cubicBezTo>
                <a:lnTo>
                  <a:pt x="2683764" y="293243"/>
                </a:lnTo>
                <a:cubicBezTo>
                  <a:pt x="2683764" y="131318"/>
                  <a:pt x="2552573" y="0"/>
                  <a:pt x="2390648" y="0"/>
                </a:cubicBezTo>
                <a:lnTo>
                  <a:pt x="2390648" y="0"/>
                </a:lnTo>
                <a:close/>
              </a:path>
            </a:pathLst>
          </a:custGeom>
          <a:solidFill>
            <a:srgbClr val="858900"/>
          </a:solidFill>
          <a:ln w="12700" cap="flat">
            <a:noFill/>
            <a:prstDash val="solid"/>
            <a:miter/>
          </a:ln>
        </p:spPr>
        <p:txBody>
          <a:bodyPr lIns="144000" tIns="144000" rIns="144000" bIns="144000" rtlCol="0" anchor="ctr"/>
          <a:lstStyle/>
          <a:p>
            <a:pPr lvl="4"/>
            <a:r>
              <a:rPr lang="en-GB" sz="1800" dirty="0"/>
              <a:t>Variables </a:t>
            </a:r>
            <a:r>
              <a:rPr lang="en-GB" sz="1800" dirty="0" err="1"/>
              <a:t>biológicas</a:t>
            </a:r>
            <a:r>
              <a:rPr lang="en-GB" sz="1800" dirty="0"/>
              <a:t> </a:t>
            </a:r>
            <a:r>
              <a:rPr lang="en-GB" sz="1800" dirty="0" err="1"/>
              <a:t>intrínsecas</a:t>
            </a:r>
            <a:endParaRPr lang="en-GB" sz="1800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4B1DBF7-5CDB-DF0B-66F8-DD774ECE6107}"/>
              </a:ext>
            </a:extLst>
          </p:cNvPr>
          <p:cNvSpPr>
            <a:spLocks noChangeAspect="1"/>
          </p:cNvSpPr>
          <p:nvPr/>
        </p:nvSpPr>
        <p:spPr>
          <a:xfrm>
            <a:off x="2928830" y="4270559"/>
            <a:ext cx="2683763" cy="2314956"/>
          </a:xfrm>
          <a:custGeom>
            <a:avLst/>
            <a:gdLst>
              <a:gd name="connsiteX0" fmla="*/ 2390648 w 2683763"/>
              <a:gd name="connsiteY0" fmla="*/ 25400 h 2314956"/>
              <a:gd name="connsiteX1" fmla="*/ 2658364 w 2683763"/>
              <a:gd name="connsiteY1" fmla="*/ 293243 h 2314956"/>
              <a:gd name="connsiteX2" fmla="*/ 2658364 w 2683763"/>
              <a:gd name="connsiteY2" fmla="*/ 2021675 h 2314956"/>
              <a:gd name="connsiteX3" fmla="*/ 2580805 w 2683763"/>
              <a:gd name="connsiteY3" fmla="*/ 2210245 h 2314956"/>
              <a:gd name="connsiteX4" fmla="*/ 2540101 w 2683763"/>
              <a:gd name="connsiteY4" fmla="*/ 2243798 h 2314956"/>
              <a:gd name="connsiteX5" fmla="*/ 2493683 w 2683763"/>
              <a:gd name="connsiteY5" fmla="*/ 2268982 h 2314956"/>
              <a:gd name="connsiteX6" fmla="*/ 2390648 w 2683763"/>
              <a:gd name="connsiteY6" fmla="*/ 2289556 h 2314956"/>
              <a:gd name="connsiteX7" fmla="*/ 292227 w 2683763"/>
              <a:gd name="connsiteY7" fmla="*/ 2289556 h 2314956"/>
              <a:gd name="connsiteX8" fmla="*/ 189192 w 2683763"/>
              <a:gd name="connsiteY8" fmla="*/ 2268982 h 2314956"/>
              <a:gd name="connsiteX9" fmla="*/ 158737 w 2683763"/>
              <a:gd name="connsiteY9" fmla="*/ 2252447 h 2314956"/>
              <a:gd name="connsiteX10" fmla="*/ 128511 w 2683763"/>
              <a:gd name="connsiteY10" fmla="*/ 2232076 h 2314956"/>
              <a:gd name="connsiteX11" fmla="*/ 102108 w 2683763"/>
              <a:gd name="connsiteY11" fmla="*/ 2210270 h 2314956"/>
              <a:gd name="connsiteX12" fmla="*/ 30226 w 2683763"/>
              <a:gd name="connsiteY12" fmla="*/ 2076920 h 2314956"/>
              <a:gd name="connsiteX13" fmla="*/ 25400 w 2683763"/>
              <a:gd name="connsiteY13" fmla="*/ 2029562 h 2314956"/>
              <a:gd name="connsiteX14" fmla="*/ 25400 w 2683763"/>
              <a:gd name="connsiteY14" fmla="*/ 285395 h 2314956"/>
              <a:gd name="connsiteX15" fmla="*/ 30226 w 2683763"/>
              <a:gd name="connsiteY15" fmla="*/ 238062 h 2314956"/>
              <a:gd name="connsiteX16" fmla="*/ 292227 w 2683763"/>
              <a:gd name="connsiteY16" fmla="*/ 25400 h 2314956"/>
              <a:gd name="connsiteX17" fmla="*/ 2390648 w 2683763"/>
              <a:gd name="connsiteY17" fmla="*/ 25400 h 2314956"/>
              <a:gd name="connsiteX18" fmla="*/ 2390648 w 2683763"/>
              <a:gd name="connsiteY18" fmla="*/ 0 h 2314956"/>
              <a:gd name="connsiteX19" fmla="*/ 292227 w 2683763"/>
              <a:gd name="connsiteY19" fmla="*/ 0 h 2314956"/>
              <a:gd name="connsiteX20" fmla="*/ 5080 w 2683763"/>
              <a:gd name="connsiteY20" fmla="*/ 234188 h 2314956"/>
              <a:gd name="connsiteX21" fmla="*/ 0 w 2683763"/>
              <a:gd name="connsiteY21" fmla="*/ 284099 h 2314956"/>
              <a:gd name="connsiteX22" fmla="*/ 0 w 2683763"/>
              <a:gd name="connsiteY22" fmla="*/ 2030845 h 2314956"/>
              <a:gd name="connsiteX23" fmla="*/ 5080 w 2683763"/>
              <a:gd name="connsiteY23" fmla="*/ 2080781 h 2314956"/>
              <a:gd name="connsiteX24" fmla="*/ 84963 w 2683763"/>
              <a:gd name="connsiteY24" fmla="*/ 2229054 h 2314956"/>
              <a:gd name="connsiteX25" fmla="*/ 113284 w 2683763"/>
              <a:gd name="connsiteY25" fmla="*/ 2252447 h 2314956"/>
              <a:gd name="connsiteX26" fmla="*/ 145542 w 2683763"/>
              <a:gd name="connsiteY26" fmla="*/ 2274189 h 2314956"/>
              <a:gd name="connsiteX27" fmla="*/ 178181 w 2683763"/>
              <a:gd name="connsiteY27" fmla="*/ 2291906 h 2314956"/>
              <a:gd name="connsiteX28" fmla="*/ 292227 w 2683763"/>
              <a:gd name="connsiteY28" fmla="*/ 2314956 h 2314956"/>
              <a:gd name="connsiteX29" fmla="*/ 2390648 w 2683763"/>
              <a:gd name="connsiteY29" fmla="*/ 2314956 h 2314956"/>
              <a:gd name="connsiteX30" fmla="*/ 2504694 w 2683763"/>
              <a:gd name="connsiteY30" fmla="*/ 2291906 h 2314956"/>
              <a:gd name="connsiteX31" fmla="*/ 2554351 w 2683763"/>
              <a:gd name="connsiteY31" fmla="*/ 2264956 h 2314956"/>
              <a:gd name="connsiteX32" fmla="*/ 2554605 w 2683763"/>
              <a:gd name="connsiteY32" fmla="*/ 2264753 h 2314956"/>
              <a:gd name="connsiteX33" fmla="*/ 2597912 w 2683763"/>
              <a:gd name="connsiteY33" fmla="*/ 2229054 h 2314956"/>
              <a:gd name="connsiteX34" fmla="*/ 2683764 w 2683763"/>
              <a:gd name="connsiteY34" fmla="*/ 2021675 h 2314956"/>
              <a:gd name="connsiteX35" fmla="*/ 2683764 w 2683763"/>
              <a:gd name="connsiteY35" fmla="*/ 293243 h 2314956"/>
              <a:gd name="connsiteX36" fmla="*/ 2390648 w 2683763"/>
              <a:gd name="connsiteY36" fmla="*/ 0 h 2314956"/>
              <a:gd name="connsiteX37" fmla="*/ 2390648 w 2683763"/>
              <a:gd name="connsiteY37" fmla="*/ 0 h 2314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683763" h="2314956">
                <a:moveTo>
                  <a:pt x="2390648" y="25400"/>
                </a:moveTo>
                <a:cubicBezTo>
                  <a:pt x="2538273" y="25400"/>
                  <a:pt x="2658364" y="145555"/>
                  <a:pt x="2658364" y="293243"/>
                </a:cubicBezTo>
                <a:lnTo>
                  <a:pt x="2658364" y="2021675"/>
                </a:lnTo>
                <a:cubicBezTo>
                  <a:pt x="2658364" y="2092872"/>
                  <a:pt x="2630831" y="2159788"/>
                  <a:pt x="2580805" y="2210245"/>
                </a:cubicBezTo>
                <a:lnTo>
                  <a:pt x="2540101" y="2243798"/>
                </a:lnTo>
                <a:lnTo>
                  <a:pt x="2493683" y="2268982"/>
                </a:lnTo>
                <a:cubicBezTo>
                  <a:pt x="2461044" y="2282635"/>
                  <a:pt x="2426386" y="2289556"/>
                  <a:pt x="2390648" y="2289556"/>
                </a:cubicBezTo>
                <a:lnTo>
                  <a:pt x="292227" y="2289556"/>
                </a:lnTo>
                <a:cubicBezTo>
                  <a:pt x="256489" y="2289556"/>
                  <a:pt x="221831" y="2282635"/>
                  <a:pt x="189192" y="2268982"/>
                </a:cubicBezTo>
                <a:lnTo>
                  <a:pt x="158737" y="2252447"/>
                </a:lnTo>
                <a:lnTo>
                  <a:pt x="128511" y="2232076"/>
                </a:lnTo>
                <a:lnTo>
                  <a:pt x="102108" y="2210270"/>
                </a:lnTo>
                <a:cubicBezTo>
                  <a:pt x="65570" y="2173377"/>
                  <a:pt x="40741" y="2127314"/>
                  <a:pt x="30226" y="2076920"/>
                </a:cubicBezTo>
                <a:lnTo>
                  <a:pt x="25400" y="2029562"/>
                </a:lnTo>
                <a:lnTo>
                  <a:pt x="25400" y="285395"/>
                </a:lnTo>
                <a:lnTo>
                  <a:pt x="30226" y="238062"/>
                </a:lnTo>
                <a:cubicBezTo>
                  <a:pt x="56019" y="114757"/>
                  <a:pt x="166014" y="25400"/>
                  <a:pt x="292227" y="25400"/>
                </a:cubicBezTo>
                <a:lnTo>
                  <a:pt x="2390648" y="25400"/>
                </a:lnTo>
                <a:moveTo>
                  <a:pt x="2390648" y="0"/>
                </a:moveTo>
                <a:lnTo>
                  <a:pt x="292227" y="0"/>
                </a:lnTo>
                <a:cubicBezTo>
                  <a:pt x="150622" y="0"/>
                  <a:pt x="32385" y="100584"/>
                  <a:pt x="5080" y="234188"/>
                </a:cubicBezTo>
                <a:lnTo>
                  <a:pt x="0" y="284099"/>
                </a:lnTo>
                <a:lnTo>
                  <a:pt x="0" y="2030845"/>
                </a:lnTo>
                <a:lnTo>
                  <a:pt x="5080" y="2080781"/>
                </a:lnTo>
                <a:cubicBezTo>
                  <a:pt x="16764" y="2138058"/>
                  <a:pt x="45212" y="2189252"/>
                  <a:pt x="84963" y="2229054"/>
                </a:cubicBezTo>
                <a:lnTo>
                  <a:pt x="113284" y="2252447"/>
                </a:lnTo>
                <a:lnTo>
                  <a:pt x="145542" y="2274189"/>
                </a:lnTo>
                <a:lnTo>
                  <a:pt x="178181" y="2291906"/>
                </a:lnTo>
                <a:cubicBezTo>
                  <a:pt x="213233" y="2306752"/>
                  <a:pt x="251714" y="2314956"/>
                  <a:pt x="292227" y="2314956"/>
                </a:cubicBezTo>
                <a:lnTo>
                  <a:pt x="2390648" y="2314956"/>
                </a:lnTo>
                <a:cubicBezTo>
                  <a:pt x="2431034" y="2314956"/>
                  <a:pt x="2469642" y="2306752"/>
                  <a:pt x="2504694" y="2291906"/>
                </a:cubicBezTo>
                <a:lnTo>
                  <a:pt x="2554351" y="2264956"/>
                </a:lnTo>
                <a:lnTo>
                  <a:pt x="2554605" y="2264753"/>
                </a:lnTo>
                <a:lnTo>
                  <a:pt x="2597912" y="2229054"/>
                </a:lnTo>
                <a:cubicBezTo>
                  <a:pt x="2650998" y="2175980"/>
                  <a:pt x="2683764" y="2102663"/>
                  <a:pt x="2683764" y="2021675"/>
                </a:cubicBezTo>
                <a:lnTo>
                  <a:pt x="2683764" y="293243"/>
                </a:lnTo>
                <a:cubicBezTo>
                  <a:pt x="2683764" y="131318"/>
                  <a:pt x="2552573" y="0"/>
                  <a:pt x="2390648" y="0"/>
                </a:cubicBezTo>
                <a:lnTo>
                  <a:pt x="2390648" y="0"/>
                </a:lnTo>
                <a:close/>
              </a:path>
            </a:pathLst>
          </a:custGeom>
          <a:solidFill>
            <a:srgbClr val="858900"/>
          </a:solidFill>
          <a:ln w="12700" cap="flat">
            <a:noFill/>
            <a:prstDash val="solid"/>
            <a:miter/>
          </a:ln>
        </p:spPr>
        <p:txBody>
          <a:bodyPr lIns="144000" tIns="144000" rIns="144000" bIns="144000" rtlCol="0" anchor="ctr"/>
          <a:lstStyle/>
          <a:p>
            <a:pPr lvl="4"/>
            <a:r>
              <a:rPr lang="en-GB" sz="1800" dirty="0" err="1"/>
              <a:t>Dimensión</a:t>
            </a:r>
            <a:r>
              <a:rPr lang="en-GB" sz="1800" dirty="0"/>
              <a:t> socia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1DAFCFC-C390-866D-3043-65511DA71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 err="1"/>
              <a:t>Hech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la </a:t>
            </a:r>
            <a:r>
              <a:rPr lang="en-GB" dirty="0" err="1"/>
              <a:t>Mortalidad</a:t>
            </a:r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FD108D7-F19E-4829-0F0F-F87908107AFA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17" name="Group 4">
              <a:extLst>
                <a:ext uri="{FF2B5EF4-FFF2-40B4-BE49-F238E27FC236}">
                  <a16:creationId xmlns:a16="http://schemas.microsoft.com/office/drawing/2014/main" id="{8D80ABD6-0E08-7818-2F5E-9945B5D486E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14F4D54D-FB11-35B8-6673-8F43F48BF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517C2042-F482-D2EC-6C44-771D6DE202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7">
                <a:extLst>
                  <a:ext uri="{FF2B5EF4-FFF2-40B4-BE49-F238E27FC236}">
                    <a16:creationId xmlns:a16="http://schemas.microsoft.com/office/drawing/2014/main" id="{10D4FAA9-6217-3DFC-5F8C-6C6B8F28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446BA791-00A1-056F-BCF5-D7CE3EDEF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2616CA12-6F6E-6397-AB27-AF26FF3D13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AA5EDDE8-D94A-50B1-0529-CCA6A94B0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5" name="Freeform 11">
                <a:extLst>
                  <a:ext uri="{FF2B5EF4-FFF2-40B4-BE49-F238E27FC236}">
                    <a16:creationId xmlns:a16="http://schemas.microsoft.com/office/drawing/2014/main" id="{8A5921B6-81D2-B39E-3619-18A29E8D5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6" name="Freeform 12">
                <a:extLst>
                  <a:ext uri="{FF2B5EF4-FFF2-40B4-BE49-F238E27FC236}">
                    <a16:creationId xmlns:a16="http://schemas.microsoft.com/office/drawing/2014/main" id="{AA8BF949-0135-50E7-239F-E21C961A0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7" name="Freeform 13">
                <a:extLst>
                  <a:ext uri="{FF2B5EF4-FFF2-40B4-BE49-F238E27FC236}">
                    <a16:creationId xmlns:a16="http://schemas.microsoft.com/office/drawing/2014/main" id="{42E5364A-403D-3498-EC8E-2AF2257B7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14">
                <a:extLst>
                  <a:ext uri="{FF2B5EF4-FFF2-40B4-BE49-F238E27FC236}">
                    <a16:creationId xmlns:a16="http://schemas.microsoft.com/office/drawing/2014/main" id="{69988DC9-C6F3-4778-C2DB-AE3A96D305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15">
                <a:extLst>
                  <a:ext uri="{FF2B5EF4-FFF2-40B4-BE49-F238E27FC236}">
                    <a16:creationId xmlns:a16="http://schemas.microsoft.com/office/drawing/2014/main" id="{E2F1859E-A389-E3AA-1868-C3F089455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16">
                <a:extLst>
                  <a:ext uri="{FF2B5EF4-FFF2-40B4-BE49-F238E27FC236}">
                    <a16:creationId xmlns:a16="http://schemas.microsoft.com/office/drawing/2014/main" id="{4C794873-07AD-1FE0-D41A-CD0FE770E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81C526B-6A21-3ACD-099D-BB340B8615E9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698EE89-DAE3-10DC-F4DC-EF27FA646D58}"/>
              </a:ext>
            </a:extLst>
          </p:cNvPr>
          <p:cNvGrpSpPr/>
          <p:nvPr/>
        </p:nvGrpSpPr>
        <p:grpSpPr>
          <a:xfrm>
            <a:off x="4021015" y="3669323"/>
            <a:ext cx="410308" cy="410308"/>
            <a:chOff x="4021015" y="3669323"/>
            <a:chExt cx="410308" cy="410308"/>
          </a:xfrm>
        </p:grpSpPr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85ACBB3A-F7DA-68E6-2179-2C39B5E22DE4}"/>
                </a:ext>
              </a:extLst>
            </p:cNvPr>
            <p:cNvCxnSpPr/>
            <p:nvPr/>
          </p:nvCxnSpPr>
          <p:spPr>
            <a:xfrm>
              <a:off x="4021015" y="3692769"/>
              <a:ext cx="0" cy="3868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22AA55BF-EAD7-2FA3-F70C-CE75A8030CD3}"/>
                </a:ext>
              </a:extLst>
            </p:cNvPr>
            <p:cNvCxnSpPr/>
            <p:nvPr/>
          </p:nvCxnSpPr>
          <p:spPr>
            <a:xfrm flipV="1">
              <a:off x="4431323" y="3669323"/>
              <a:ext cx="0" cy="41030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6FE73C7-0F3B-063B-897C-6FC3184BEC0E}"/>
              </a:ext>
            </a:extLst>
          </p:cNvPr>
          <p:cNvSpPr/>
          <p:nvPr/>
        </p:nvSpPr>
        <p:spPr>
          <a:xfrm>
            <a:off x="422031" y="1148862"/>
            <a:ext cx="11166163" cy="5556738"/>
          </a:xfrm>
          <a:prstGeom prst="roundRect">
            <a:avLst/>
          </a:prstGeom>
          <a:solidFill>
            <a:srgbClr val="E9E9E9">
              <a:alpha val="50196"/>
            </a:srgbClr>
          </a:solidFill>
          <a:ln w="12700" cap="flat">
            <a:noFill/>
            <a:prstDash val="solid"/>
            <a:miter/>
          </a:ln>
        </p:spPr>
        <p:txBody>
          <a:bodyPr tIns="90000" bIns="90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2970DD8-AD0E-CF92-2011-D38508326A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6242044"/>
              </p:ext>
            </p:extLst>
          </p:nvPr>
        </p:nvGraphicFramePr>
        <p:xfrm>
          <a:off x="6037439" y="1980029"/>
          <a:ext cx="5201109" cy="3206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275997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64DEA6-74C3-A4C7-847B-7B382CB3B5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A9E3D26-45BF-B9F7-B3CE-7C3B0FD6F8DA}"/>
              </a:ext>
            </a:extLst>
          </p:cNvPr>
          <p:cNvSpPr>
            <a:spLocks noChangeAspect="1"/>
          </p:cNvSpPr>
          <p:nvPr/>
        </p:nvSpPr>
        <p:spPr>
          <a:xfrm>
            <a:off x="2928830" y="1268364"/>
            <a:ext cx="2683763" cy="2314956"/>
          </a:xfrm>
          <a:custGeom>
            <a:avLst/>
            <a:gdLst>
              <a:gd name="connsiteX0" fmla="*/ 2390648 w 2683763"/>
              <a:gd name="connsiteY0" fmla="*/ 25400 h 2314956"/>
              <a:gd name="connsiteX1" fmla="*/ 2658364 w 2683763"/>
              <a:gd name="connsiteY1" fmla="*/ 293243 h 2314956"/>
              <a:gd name="connsiteX2" fmla="*/ 2658364 w 2683763"/>
              <a:gd name="connsiteY2" fmla="*/ 2021675 h 2314956"/>
              <a:gd name="connsiteX3" fmla="*/ 2580805 w 2683763"/>
              <a:gd name="connsiteY3" fmla="*/ 2210245 h 2314956"/>
              <a:gd name="connsiteX4" fmla="*/ 2540101 w 2683763"/>
              <a:gd name="connsiteY4" fmla="*/ 2243798 h 2314956"/>
              <a:gd name="connsiteX5" fmla="*/ 2493683 w 2683763"/>
              <a:gd name="connsiteY5" fmla="*/ 2268982 h 2314956"/>
              <a:gd name="connsiteX6" fmla="*/ 2390648 w 2683763"/>
              <a:gd name="connsiteY6" fmla="*/ 2289556 h 2314956"/>
              <a:gd name="connsiteX7" fmla="*/ 292227 w 2683763"/>
              <a:gd name="connsiteY7" fmla="*/ 2289556 h 2314956"/>
              <a:gd name="connsiteX8" fmla="*/ 189192 w 2683763"/>
              <a:gd name="connsiteY8" fmla="*/ 2268982 h 2314956"/>
              <a:gd name="connsiteX9" fmla="*/ 158737 w 2683763"/>
              <a:gd name="connsiteY9" fmla="*/ 2252447 h 2314956"/>
              <a:gd name="connsiteX10" fmla="*/ 128511 w 2683763"/>
              <a:gd name="connsiteY10" fmla="*/ 2232076 h 2314956"/>
              <a:gd name="connsiteX11" fmla="*/ 102108 w 2683763"/>
              <a:gd name="connsiteY11" fmla="*/ 2210270 h 2314956"/>
              <a:gd name="connsiteX12" fmla="*/ 30226 w 2683763"/>
              <a:gd name="connsiteY12" fmla="*/ 2076920 h 2314956"/>
              <a:gd name="connsiteX13" fmla="*/ 25400 w 2683763"/>
              <a:gd name="connsiteY13" fmla="*/ 2029562 h 2314956"/>
              <a:gd name="connsiteX14" fmla="*/ 25400 w 2683763"/>
              <a:gd name="connsiteY14" fmla="*/ 285395 h 2314956"/>
              <a:gd name="connsiteX15" fmla="*/ 30226 w 2683763"/>
              <a:gd name="connsiteY15" fmla="*/ 238062 h 2314956"/>
              <a:gd name="connsiteX16" fmla="*/ 292227 w 2683763"/>
              <a:gd name="connsiteY16" fmla="*/ 25400 h 2314956"/>
              <a:gd name="connsiteX17" fmla="*/ 2390648 w 2683763"/>
              <a:gd name="connsiteY17" fmla="*/ 25400 h 2314956"/>
              <a:gd name="connsiteX18" fmla="*/ 2390648 w 2683763"/>
              <a:gd name="connsiteY18" fmla="*/ 0 h 2314956"/>
              <a:gd name="connsiteX19" fmla="*/ 292227 w 2683763"/>
              <a:gd name="connsiteY19" fmla="*/ 0 h 2314956"/>
              <a:gd name="connsiteX20" fmla="*/ 5080 w 2683763"/>
              <a:gd name="connsiteY20" fmla="*/ 234188 h 2314956"/>
              <a:gd name="connsiteX21" fmla="*/ 0 w 2683763"/>
              <a:gd name="connsiteY21" fmla="*/ 284099 h 2314956"/>
              <a:gd name="connsiteX22" fmla="*/ 0 w 2683763"/>
              <a:gd name="connsiteY22" fmla="*/ 2030845 h 2314956"/>
              <a:gd name="connsiteX23" fmla="*/ 5080 w 2683763"/>
              <a:gd name="connsiteY23" fmla="*/ 2080781 h 2314956"/>
              <a:gd name="connsiteX24" fmla="*/ 84963 w 2683763"/>
              <a:gd name="connsiteY24" fmla="*/ 2229054 h 2314956"/>
              <a:gd name="connsiteX25" fmla="*/ 113284 w 2683763"/>
              <a:gd name="connsiteY25" fmla="*/ 2252447 h 2314956"/>
              <a:gd name="connsiteX26" fmla="*/ 145542 w 2683763"/>
              <a:gd name="connsiteY26" fmla="*/ 2274189 h 2314956"/>
              <a:gd name="connsiteX27" fmla="*/ 178181 w 2683763"/>
              <a:gd name="connsiteY27" fmla="*/ 2291906 h 2314956"/>
              <a:gd name="connsiteX28" fmla="*/ 292227 w 2683763"/>
              <a:gd name="connsiteY28" fmla="*/ 2314956 h 2314956"/>
              <a:gd name="connsiteX29" fmla="*/ 2390648 w 2683763"/>
              <a:gd name="connsiteY29" fmla="*/ 2314956 h 2314956"/>
              <a:gd name="connsiteX30" fmla="*/ 2504694 w 2683763"/>
              <a:gd name="connsiteY30" fmla="*/ 2291906 h 2314956"/>
              <a:gd name="connsiteX31" fmla="*/ 2554351 w 2683763"/>
              <a:gd name="connsiteY31" fmla="*/ 2264956 h 2314956"/>
              <a:gd name="connsiteX32" fmla="*/ 2554605 w 2683763"/>
              <a:gd name="connsiteY32" fmla="*/ 2264753 h 2314956"/>
              <a:gd name="connsiteX33" fmla="*/ 2597912 w 2683763"/>
              <a:gd name="connsiteY33" fmla="*/ 2229054 h 2314956"/>
              <a:gd name="connsiteX34" fmla="*/ 2683764 w 2683763"/>
              <a:gd name="connsiteY34" fmla="*/ 2021675 h 2314956"/>
              <a:gd name="connsiteX35" fmla="*/ 2683764 w 2683763"/>
              <a:gd name="connsiteY35" fmla="*/ 293243 h 2314956"/>
              <a:gd name="connsiteX36" fmla="*/ 2390648 w 2683763"/>
              <a:gd name="connsiteY36" fmla="*/ 0 h 2314956"/>
              <a:gd name="connsiteX37" fmla="*/ 2390648 w 2683763"/>
              <a:gd name="connsiteY37" fmla="*/ 0 h 2314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683763" h="2314956">
                <a:moveTo>
                  <a:pt x="2390648" y="25400"/>
                </a:moveTo>
                <a:cubicBezTo>
                  <a:pt x="2538273" y="25400"/>
                  <a:pt x="2658364" y="145555"/>
                  <a:pt x="2658364" y="293243"/>
                </a:cubicBezTo>
                <a:lnTo>
                  <a:pt x="2658364" y="2021675"/>
                </a:lnTo>
                <a:cubicBezTo>
                  <a:pt x="2658364" y="2092872"/>
                  <a:pt x="2630831" y="2159788"/>
                  <a:pt x="2580805" y="2210245"/>
                </a:cubicBezTo>
                <a:lnTo>
                  <a:pt x="2540101" y="2243798"/>
                </a:lnTo>
                <a:lnTo>
                  <a:pt x="2493683" y="2268982"/>
                </a:lnTo>
                <a:cubicBezTo>
                  <a:pt x="2461044" y="2282635"/>
                  <a:pt x="2426386" y="2289556"/>
                  <a:pt x="2390648" y="2289556"/>
                </a:cubicBezTo>
                <a:lnTo>
                  <a:pt x="292227" y="2289556"/>
                </a:lnTo>
                <a:cubicBezTo>
                  <a:pt x="256489" y="2289556"/>
                  <a:pt x="221831" y="2282635"/>
                  <a:pt x="189192" y="2268982"/>
                </a:cubicBezTo>
                <a:lnTo>
                  <a:pt x="158737" y="2252447"/>
                </a:lnTo>
                <a:lnTo>
                  <a:pt x="128511" y="2232076"/>
                </a:lnTo>
                <a:lnTo>
                  <a:pt x="102108" y="2210270"/>
                </a:lnTo>
                <a:cubicBezTo>
                  <a:pt x="65570" y="2173377"/>
                  <a:pt x="40741" y="2127314"/>
                  <a:pt x="30226" y="2076920"/>
                </a:cubicBezTo>
                <a:lnTo>
                  <a:pt x="25400" y="2029562"/>
                </a:lnTo>
                <a:lnTo>
                  <a:pt x="25400" y="285395"/>
                </a:lnTo>
                <a:lnTo>
                  <a:pt x="30226" y="238062"/>
                </a:lnTo>
                <a:cubicBezTo>
                  <a:pt x="56019" y="114757"/>
                  <a:pt x="166014" y="25400"/>
                  <a:pt x="292227" y="25400"/>
                </a:cubicBezTo>
                <a:lnTo>
                  <a:pt x="2390648" y="25400"/>
                </a:lnTo>
                <a:moveTo>
                  <a:pt x="2390648" y="0"/>
                </a:moveTo>
                <a:lnTo>
                  <a:pt x="292227" y="0"/>
                </a:lnTo>
                <a:cubicBezTo>
                  <a:pt x="150622" y="0"/>
                  <a:pt x="32385" y="100584"/>
                  <a:pt x="5080" y="234188"/>
                </a:cubicBezTo>
                <a:lnTo>
                  <a:pt x="0" y="284099"/>
                </a:lnTo>
                <a:lnTo>
                  <a:pt x="0" y="2030845"/>
                </a:lnTo>
                <a:lnTo>
                  <a:pt x="5080" y="2080781"/>
                </a:lnTo>
                <a:cubicBezTo>
                  <a:pt x="16764" y="2138058"/>
                  <a:pt x="45212" y="2189252"/>
                  <a:pt x="84963" y="2229054"/>
                </a:cubicBezTo>
                <a:lnTo>
                  <a:pt x="113284" y="2252447"/>
                </a:lnTo>
                <a:lnTo>
                  <a:pt x="145542" y="2274189"/>
                </a:lnTo>
                <a:lnTo>
                  <a:pt x="178181" y="2291906"/>
                </a:lnTo>
                <a:cubicBezTo>
                  <a:pt x="213233" y="2306752"/>
                  <a:pt x="251714" y="2314956"/>
                  <a:pt x="292227" y="2314956"/>
                </a:cubicBezTo>
                <a:lnTo>
                  <a:pt x="2390648" y="2314956"/>
                </a:lnTo>
                <a:cubicBezTo>
                  <a:pt x="2431034" y="2314956"/>
                  <a:pt x="2469642" y="2306752"/>
                  <a:pt x="2504694" y="2291906"/>
                </a:cubicBezTo>
                <a:lnTo>
                  <a:pt x="2554351" y="2264956"/>
                </a:lnTo>
                <a:lnTo>
                  <a:pt x="2554605" y="2264753"/>
                </a:lnTo>
                <a:lnTo>
                  <a:pt x="2597912" y="2229054"/>
                </a:lnTo>
                <a:cubicBezTo>
                  <a:pt x="2650998" y="2175980"/>
                  <a:pt x="2683764" y="2102663"/>
                  <a:pt x="2683764" y="2021675"/>
                </a:cubicBezTo>
                <a:lnTo>
                  <a:pt x="2683764" y="293243"/>
                </a:lnTo>
                <a:cubicBezTo>
                  <a:pt x="2683764" y="131318"/>
                  <a:pt x="2552573" y="0"/>
                  <a:pt x="2390648" y="0"/>
                </a:cubicBezTo>
                <a:lnTo>
                  <a:pt x="2390648" y="0"/>
                </a:lnTo>
                <a:close/>
              </a:path>
            </a:pathLst>
          </a:custGeom>
          <a:solidFill>
            <a:srgbClr val="858900"/>
          </a:solidFill>
          <a:ln w="12700" cap="flat">
            <a:noFill/>
            <a:prstDash val="solid"/>
            <a:miter/>
          </a:ln>
        </p:spPr>
        <p:txBody>
          <a:bodyPr lIns="144000" tIns="144000" rIns="144000" bIns="144000" rtlCol="0" anchor="ctr"/>
          <a:lstStyle/>
          <a:p>
            <a:pPr lvl="4"/>
            <a:r>
              <a:rPr lang="en-GB" sz="1800" dirty="0"/>
              <a:t>Variables </a:t>
            </a:r>
            <a:r>
              <a:rPr lang="en-GB" sz="1800" dirty="0" err="1"/>
              <a:t>biológicas</a:t>
            </a:r>
            <a:r>
              <a:rPr lang="en-GB" sz="1800" dirty="0"/>
              <a:t> </a:t>
            </a:r>
            <a:r>
              <a:rPr lang="en-GB" sz="1800" dirty="0" err="1"/>
              <a:t>intrínsecas</a:t>
            </a:r>
            <a:endParaRPr lang="en-GB" sz="18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7CE828-B788-FB68-DA9D-C5F355F676FE}"/>
              </a:ext>
            </a:extLst>
          </p:cNvPr>
          <p:cNvSpPr txBox="1">
            <a:spLocks noChangeAspect="1"/>
          </p:cNvSpPr>
          <p:nvPr/>
        </p:nvSpPr>
        <p:spPr>
          <a:xfrm>
            <a:off x="6578495" y="4270715"/>
            <a:ext cx="2684675" cy="2314800"/>
          </a:xfrm>
          <a:custGeom>
            <a:avLst/>
            <a:gdLst>
              <a:gd name="connsiteX0" fmla="*/ 292337 w 2684675"/>
              <a:gd name="connsiteY0" fmla="*/ 0 h 2314800"/>
              <a:gd name="connsiteX1" fmla="*/ 2391413 w 2684675"/>
              <a:gd name="connsiteY1" fmla="*/ 0 h 2314800"/>
              <a:gd name="connsiteX2" fmla="*/ 2684675 w 2684675"/>
              <a:gd name="connsiteY2" fmla="*/ 293262 h 2314800"/>
              <a:gd name="connsiteX3" fmla="*/ 2684675 w 2684675"/>
              <a:gd name="connsiteY3" fmla="*/ 2021538 h 2314800"/>
              <a:gd name="connsiteX4" fmla="*/ 2598780 w 2684675"/>
              <a:gd name="connsiteY4" fmla="*/ 2228906 h 2314800"/>
              <a:gd name="connsiteX5" fmla="*/ 2555517 w 2684675"/>
              <a:gd name="connsiteY5" fmla="*/ 2264601 h 2314800"/>
              <a:gd name="connsiteX6" fmla="*/ 2555220 w 2684675"/>
              <a:gd name="connsiteY6" fmla="*/ 2264802 h 2314800"/>
              <a:gd name="connsiteX7" fmla="*/ 2505564 w 2684675"/>
              <a:gd name="connsiteY7" fmla="*/ 2291754 h 2314800"/>
              <a:gd name="connsiteX8" fmla="*/ 2391413 w 2684675"/>
              <a:gd name="connsiteY8" fmla="*/ 2314800 h 2314800"/>
              <a:gd name="connsiteX9" fmla="*/ 292337 w 2684675"/>
              <a:gd name="connsiteY9" fmla="*/ 2314800 h 2314800"/>
              <a:gd name="connsiteX10" fmla="*/ 178187 w 2684675"/>
              <a:gd name="connsiteY10" fmla="*/ 2291754 h 2314800"/>
              <a:gd name="connsiteX11" fmla="*/ 145544 w 2684675"/>
              <a:gd name="connsiteY11" fmla="*/ 2274036 h 2314800"/>
              <a:gd name="connsiteX12" fmla="*/ 113321 w 2684675"/>
              <a:gd name="connsiteY12" fmla="*/ 2252298 h 2314800"/>
              <a:gd name="connsiteX13" fmla="*/ 84970 w 2684675"/>
              <a:gd name="connsiteY13" fmla="*/ 2228906 h 2314800"/>
              <a:gd name="connsiteX14" fmla="*/ 5033 w 2684675"/>
              <a:gd name="connsiteY14" fmla="*/ 2080641 h 2314800"/>
              <a:gd name="connsiteX15" fmla="*/ 0 w 2684675"/>
              <a:gd name="connsiteY15" fmla="*/ 2030714 h 2314800"/>
              <a:gd name="connsiteX16" fmla="*/ 0 w 2684675"/>
              <a:gd name="connsiteY16" fmla="*/ 284086 h 2314800"/>
              <a:gd name="connsiteX17" fmla="*/ 5033 w 2684675"/>
              <a:gd name="connsiteY17" fmla="*/ 234160 h 2314800"/>
              <a:gd name="connsiteX18" fmla="*/ 292337 w 2684675"/>
              <a:gd name="connsiteY18" fmla="*/ 0 h 23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84675" h="2314800">
                <a:moveTo>
                  <a:pt x="292337" y="0"/>
                </a:moveTo>
                <a:lnTo>
                  <a:pt x="2391413" y="0"/>
                </a:lnTo>
                <a:cubicBezTo>
                  <a:pt x="2553377" y="0"/>
                  <a:pt x="2684675" y="131298"/>
                  <a:pt x="2684675" y="293262"/>
                </a:cubicBezTo>
                <a:lnTo>
                  <a:pt x="2684675" y="2021538"/>
                </a:lnTo>
                <a:cubicBezTo>
                  <a:pt x="2684675" y="2102520"/>
                  <a:pt x="2651850" y="2175836"/>
                  <a:pt x="2598780" y="2228906"/>
                </a:cubicBezTo>
                <a:lnTo>
                  <a:pt x="2555517" y="2264601"/>
                </a:lnTo>
                <a:lnTo>
                  <a:pt x="2555220" y="2264802"/>
                </a:lnTo>
                <a:lnTo>
                  <a:pt x="2505564" y="2291754"/>
                </a:lnTo>
                <a:cubicBezTo>
                  <a:pt x="2470478" y="2306594"/>
                  <a:pt x="2431904" y="2314800"/>
                  <a:pt x="2391413" y="2314800"/>
                </a:cubicBezTo>
                <a:lnTo>
                  <a:pt x="292337" y="2314800"/>
                </a:lnTo>
                <a:cubicBezTo>
                  <a:pt x="251846" y="2314800"/>
                  <a:pt x="213272" y="2306594"/>
                  <a:pt x="178187" y="2291754"/>
                </a:cubicBezTo>
                <a:lnTo>
                  <a:pt x="145544" y="2274036"/>
                </a:lnTo>
                <a:lnTo>
                  <a:pt x="113321" y="2252298"/>
                </a:lnTo>
                <a:lnTo>
                  <a:pt x="84970" y="2228906"/>
                </a:lnTo>
                <a:cubicBezTo>
                  <a:pt x="45167" y="2189103"/>
                  <a:pt x="16753" y="2137913"/>
                  <a:pt x="5033" y="2080641"/>
                </a:cubicBezTo>
                <a:lnTo>
                  <a:pt x="0" y="2030714"/>
                </a:lnTo>
                <a:lnTo>
                  <a:pt x="0" y="284086"/>
                </a:lnTo>
                <a:lnTo>
                  <a:pt x="5033" y="234160"/>
                </a:lnTo>
                <a:cubicBezTo>
                  <a:pt x="32379" y="100525"/>
                  <a:pt x="150619" y="0"/>
                  <a:pt x="292337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 rtlCol="0" anchor="ctr" anchorCtr="0">
            <a:noAutofit/>
          </a:bodyPr>
          <a:lstStyle/>
          <a:p>
            <a:pPr lvl="4"/>
            <a:r>
              <a:rPr lang="en-GB" sz="1800" dirty="0">
                <a:solidFill>
                  <a:schemeClr val="bg1"/>
                </a:solidFill>
              </a:rPr>
              <a:t>Panorama</a:t>
            </a:r>
          </a:p>
          <a:p>
            <a:pPr lvl="4"/>
            <a:r>
              <a:rPr lang="en-GB" sz="1800" dirty="0" err="1">
                <a:solidFill>
                  <a:schemeClr val="bg1"/>
                </a:solidFill>
              </a:rPr>
              <a:t>Económico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461F2CCA-2E46-4FB0-4504-B5DF1FD86EBB}"/>
              </a:ext>
            </a:extLst>
          </p:cNvPr>
          <p:cNvSpPr>
            <a:spLocks noChangeAspect="1"/>
          </p:cNvSpPr>
          <p:nvPr/>
        </p:nvSpPr>
        <p:spPr>
          <a:xfrm>
            <a:off x="6489508" y="1114044"/>
            <a:ext cx="2683763" cy="2314956"/>
          </a:xfrm>
          <a:custGeom>
            <a:avLst/>
            <a:gdLst>
              <a:gd name="connsiteX0" fmla="*/ 2390648 w 2683763"/>
              <a:gd name="connsiteY0" fmla="*/ 25400 h 2314956"/>
              <a:gd name="connsiteX1" fmla="*/ 2658364 w 2683763"/>
              <a:gd name="connsiteY1" fmla="*/ 293243 h 2314956"/>
              <a:gd name="connsiteX2" fmla="*/ 2658364 w 2683763"/>
              <a:gd name="connsiteY2" fmla="*/ 2021675 h 2314956"/>
              <a:gd name="connsiteX3" fmla="*/ 2580805 w 2683763"/>
              <a:gd name="connsiteY3" fmla="*/ 2210245 h 2314956"/>
              <a:gd name="connsiteX4" fmla="*/ 2540101 w 2683763"/>
              <a:gd name="connsiteY4" fmla="*/ 2243798 h 2314956"/>
              <a:gd name="connsiteX5" fmla="*/ 2493683 w 2683763"/>
              <a:gd name="connsiteY5" fmla="*/ 2268982 h 2314956"/>
              <a:gd name="connsiteX6" fmla="*/ 2390648 w 2683763"/>
              <a:gd name="connsiteY6" fmla="*/ 2289556 h 2314956"/>
              <a:gd name="connsiteX7" fmla="*/ 292227 w 2683763"/>
              <a:gd name="connsiteY7" fmla="*/ 2289556 h 2314956"/>
              <a:gd name="connsiteX8" fmla="*/ 189192 w 2683763"/>
              <a:gd name="connsiteY8" fmla="*/ 2268982 h 2314956"/>
              <a:gd name="connsiteX9" fmla="*/ 158737 w 2683763"/>
              <a:gd name="connsiteY9" fmla="*/ 2252447 h 2314956"/>
              <a:gd name="connsiteX10" fmla="*/ 128511 w 2683763"/>
              <a:gd name="connsiteY10" fmla="*/ 2232076 h 2314956"/>
              <a:gd name="connsiteX11" fmla="*/ 102108 w 2683763"/>
              <a:gd name="connsiteY11" fmla="*/ 2210270 h 2314956"/>
              <a:gd name="connsiteX12" fmla="*/ 30226 w 2683763"/>
              <a:gd name="connsiteY12" fmla="*/ 2076920 h 2314956"/>
              <a:gd name="connsiteX13" fmla="*/ 25400 w 2683763"/>
              <a:gd name="connsiteY13" fmla="*/ 2029562 h 2314956"/>
              <a:gd name="connsiteX14" fmla="*/ 25400 w 2683763"/>
              <a:gd name="connsiteY14" fmla="*/ 285395 h 2314956"/>
              <a:gd name="connsiteX15" fmla="*/ 30226 w 2683763"/>
              <a:gd name="connsiteY15" fmla="*/ 238062 h 2314956"/>
              <a:gd name="connsiteX16" fmla="*/ 292227 w 2683763"/>
              <a:gd name="connsiteY16" fmla="*/ 25400 h 2314956"/>
              <a:gd name="connsiteX17" fmla="*/ 2390648 w 2683763"/>
              <a:gd name="connsiteY17" fmla="*/ 25400 h 2314956"/>
              <a:gd name="connsiteX18" fmla="*/ 2390648 w 2683763"/>
              <a:gd name="connsiteY18" fmla="*/ 0 h 2314956"/>
              <a:gd name="connsiteX19" fmla="*/ 292227 w 2683763"/>
              <a:gd name="connsiteY19" fmla="*/ 0 h 2314956"/>
              <a:gd name="connsiteX20" fmla="*/ 5080 w 2683763"/>
              <a:gd name="connsiteY20" fmla="*/ 234188 h 2314956"/>
              <a:gd name="connsiteX21" fmla="*/ 0 w 2683763"/>
              <a:gd name="connsiteY21" fmla="*/ 284099 h 2314956"/>
              <a:gd name="connsiteX22" fmla="*/ 0 w 2683763"/>
              <a:gd name="connsiteY22" fmla="*/ 2030845 h 2314956"/>
              <a:gd name="connsiteX23" fmla="*/ 5080 w 2683763"/>
              <a:gd name="connsiteY23" fmla="*/ 2080781 h 2314956"/>
              <a:gd name="connsiteX24" fmla="*/ 84963 w 2683763"/>
              <a:gd name="connsiteY24" fmla="*/ 2229054 h 2314956"/>
              <a:gd name="connsiteX25" fmla="*/ 113284 w 2683763"/>
              <a:gd name="connsiteY25" fmla="*/ 2252447 h 2314956"/>
              <a:gd name="connsiteX26" fmla="*/ 145542 w 2683763"/>
              <a:gd name="connsiteY26" fmla="*/ 2274189 h 2314956"/>
              <a:gd name="connsiteX27" fmla="*/ 178181 w 2683763"/>
              <a:gd name="connsiteY27" fmla="*/ 2291906 h 2314956"/>
              <a:gd name="connsiteX28" fmla="*/ 292227 w 2683763"/>
              <a:gd name="connsiteY28" fmla="*/ 2314956 h 2314956"/>
              <a:gd name="connsiteX29" fmla="*/ 2390648 w 2683763"/>
              <a:gd name="connsiteY29" fmla="*/ 2314956 h 2314956"/>
              <a:gd name="connsiteX30" fmla="*/ 2504694 w 2683763"/>
              <a:gd name="connsiteY30" fmla="*/ 2291906 h 2314956"/>
              <a:gd name="connsiteX31" fmla="*/ 2554351 w 2683763"/>
              <a:gd name="connsiteY31" fmla="*/ 2264956 h 2314956"/>
              <a:gd name="connsiteX32" fmla="*/ 2554605 w 2683763"/>
              <a:gd name="connsiteY32" fmla="*/ 2264753 h 2314956"/>
              <a:gd name="connsiteX33" fmla="*/ 2597912 w 2683763"/>
              <a:gd name="connsiteY33" fmla="*/ 2229054 h 2314956"/>
              <a:gd name="connsiteX34" fmla="*/ 2683764 w 2683763"/>
              <a:gd name="connsiteY34" fmla="*/ 2021675 h 2314956"/>
              <a:gd name="connsiteX35" fmla="*/ 2683764 w 2683763"/>
              <a:gd name="connsiteY35" fmla="*/ 293243 h 2314956"/>
              <a:gd name="connsiteX36" fmla="*/ 2390648 w 2683763"/>
              <a:gd name="connsiteY36" fmla="*/ 0 h 2314956"/>
              <a:gd name="connsiteX37" fmla="*/ 2390648 w 2683763"/>
              <a:gd name="connsiteY37" fmla="*/ 0 h 2314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683763" h="2314956">
                <a:moveTo>
                  <a:pt x="2390648" y="25400"/>
                </a:moveTo>
                <a:cubicBezTo>
                  <a:pt x="2538273" y="25400"/>
                  <a:pt x="2658364" y="145555"/>
                  <a:pt x="2658364" y="293243"/>
                </a:cubicBezTo>
                <a:lnTo>
                  <a:pt x="2658364" y="2021675"/>
                </a:lnTo>
                <a:cubicBezTo>
                  <a:pt x="2658364" y="2092872"/>
                  <a:pt x="2630831" y="2159788"/>
                  <a:pt x="2580805" y="2210245"/>
                </a:cubicBezTo>
                <a:lnTo>
                  <a:pt x="2540101" y="2243798"/>
                </a:lnTo>
                <a:lnTo>
                  <a:pt x="2493683" y="2268982"/>
                </a:lnTo>
                <a:cubicBezTo>
                  <a:pt x="2461044" y="2282635"/>
                  <a:pt x="2426386" y="2289556"/>
                  <a:pt x="2390648" y="2289556"/>
                </a:cubicBezTo>
                <a:lnTo>
                  <a:pt x="292227" y="2289556"/>
                </a:lnTo>
                <a:cubicBezTo>
                  <a:pt x="256489" y="2289556"/>
                  <a:pt x="221831" y="2282635"/>
                  <a:pt x="189192" y="2268982"/>
                </a:cubicBezTo>
                <a:lnTo>
                  <a:pt x="158737" y="2252447"/>
                </a:lnTo>
                <a:lnTo>
                  <a:pt x="128511" y="2232076"/>
                </a:lnTo>
                <a:lnTo>
                  <a:pt x="102108" y="2210270"/>
                </a:lnTo>
                <a:cubicBezTo>
                  <a:pt x="65570" y="2173377"/>
                  <a:pt x="40741" y="2127314"/>
                  <a:pt x="30226" y="2076920"/>
                </a:cubicBezTo>
                <a:lnTo>
                  <a:pt x="25400" y="2029562"/>
                </a:lnTo>
                <a:lnTo>
                  <a:pt x="25400" y="285395"/>
                </a:lnTo>
                <a:lnTo>
                  <a:pt x="30226" y="238062"/>
                </a:lnTo>
                <a:cubicBezTo>
                  <a:pt x="56019" y="114757"/>
                  <a:pt x="166014" y="25400"/>
                  <a:pt x="292227" y="25400"/>
                </a:cubicBezTo>
                <a:lnTo>
                  <a:pt x="2390648" y="25400"/>
                </a:lnTo>
                <a:moveTo>
                  <a:pt x="2390648" y="0"/>
                </a:moveTo>
                <a:lnTo>
                  <a:pt x="292227" y="0"/>
                </a:lnTo>
                <a:cubicBezTo>
                  <a:pt x="150622" y="0"/>
                  <a:pt x="32385" y="100584"/>
                  <a:pt x="5080" y="234188"/>
                </a:cubicBezTo>
                <a:lnTo>
                  <a:pt x="0" y="284099"/>
                </a:lnTo>
                <a:lnTo>
                  <a:pt x="0" y="2030845"/>
                </a:lnTo>
                <a:lnTo>
                  <a:pt x="5080" y="2080781"/>
                </a:lnTo>
                <a:cubicBezTo>
                  <a:pt x="16764" y="2138058"/>
                  <a:pt x="45212" y="2189252"/>
                  <a:pt x="84963" y="2229054"/>
                </a:cubicBezTo>
                <a:lnTo>
                  <a:pt x="113284" y="2252447"/>
                </a:lnTo>
                <a:lnTo>
                  <a:pt x="145542" y="2274189"/>
                </a:lnTo>
                <a:lnTo>
                  <a:pt x="178181" y="2291906"/>
                </a:lnTo>
                <a:cubicBezTo>
                  <a:pt x="213233" y="2306752"/>
                  <a:pt x="251714" y="2314956"/>
                  <a:pt x="292227" y="2314956"/>
                </a:cubicBezTo>
                <a:lnTo>
                  <a:pt x="2390648" y="2314956"/>
                </a:lnTo>
                <a:cubicBezTo>
                  <a:pt x="2431034" y="2314956"/>
                  <a:pt x="2469642" y="2306752"/>
                  <a:pt x="2504694" y="2291906"/>
                </a:cubicBezTo>
                <a:lnTo>
                  <a:pt x="2554351" y="2264956"/>
                </a:lnTo>
                <a:lnTo>
                  <a:pt x="2554605" y="2264753"/>
                </a:lnTo>
                <a:lnTo>
                  <a:pt x="2597912" y="2229054"/>
                </a:lnTo>
                <a:cubicBezTo>
                  <a:pt x="2650998" y="2175980"/>
                  <a:pt x="2683764" y="2102663"/>
                  <a:pt x="2683764" y="2021675"/>
                </a:cubicBezTo>
                <a:lnTo>
                  <a:pt x="2683764" y="293243"/>
                </a:lnTo>
                <a:cubicBezTo>
                  <a:pt x="2683764" y="131318"/>
                  <a:pt x="2552573" y="0"/>
                  <a:pt x="2390648" y="0"/>
                </a:cubicBezTo>
                <a:lnTo>
                  <a:pt x="2390648" y="0"/>
                </a:lnTo>
                <a:close/>
              </a:path>
            </a:pathLst>
          </a:custGeom>
          <a:solidFill>
            <a:srgbClr val="858900"/>
          </a:solidFill>
          <a:ln w="12700" cap="flat">
            <a:noFill/>
            <a:prstDash val="solid"/>
            <a:miter/>
          </a:ln>
        </p:spPr>
        <p:txBody>
          <a:bodyPr lIns="144000" tIns="144000" rIns="144000" bIns="144000" rtlCol="0" anchor="ctr"/>
          <a:lstStyle/>
          <a:p>
            <a:pPr lvl="4"/>
            <a:r>
              <a:rPr lang="en-GB" sz="1800" dirty="0"/>
              <a:t>No </a:t>
            </a:r>
            <a:r>
              <a:rPr lang="en-GB" sz="1800" dirty="0" err="1"/>
              <a:t>linearidad</a:t>
            </a:r>
            <a:endParaRPr lang="en-GB" sz="1800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D633714-8DC0-707F-2BE5-E310945CB68E}"/>
              </a:ext>
            </a:extLst>
          </p:cNvPr>
          <p:cNvSpPr>
            <a:spLocks noChangeAspect="1"/>
          </p:cNvSpPr>
          <p:nvPr/>
        </p:nvSpPr>
        <p:spPr>
          <a:xfrm>
            <a:off x="2928830" y="4270559"/>
            <a:ext cx="2683763" cy="2314956"/>
          </a:xfrm>
          <a:custGeom>
            <a:avLst/>
            <a:gdLst>
              <a:gd name="connsiteX0" fmla="*/ 2390648 w 2683763"/>
              <a:gd name="connsiteY0" fmla="*/ 25400 h 2314956"/>
              <a:gd name="connsiteX1" fmla="*/ 2658364 w 2683763"/>
              <a:gd name="connsiteY1" fmla="*/ 293243 h 2314956"/>
              <a:gd name="connsiteX2" fmla="*/ 2658364 w 2683763"/>
              <a:gd name="connsiteY2" fmla="*/ 2021675 h 2314956"/>
              <a:gd name="connsiteX3" fmla="*/ 2580805 w 2683763"/>
              <a:gd name="connsiteY3" fmla="*/ 2210245 h 2314956"/>
              <a:gd name="connsiteX4" fmla="*/ 2540101 w 2683763"/>
              <a:gd name="connsiteY4" fmla="*/ 2243798 h 2314956"/>
              <a:gd name="connsiteX5" fmla="*/ 2493683 w 2683763"/>
              <a:gd name="connsiteY5" fmla="*/ 2268982 h 2314956"/>
              <a:gd name="connsiteX6" fmla="*/ 2390648 w 2683763"/>
              <a:gd name="connsiteY6" fmla="*/ 2289556 h 2314956"/>
              <a:gd name="connsiteX7" fmla="*/ 292227 w 2683763"/>
              <a:gd name="connsiteY7" fmla="*/ 2289556 h 2314956"/>
              <a:gd name="connsiteX8" fmla="*/ 189192 w 2683763"/>
              <a:gd name="connsiteY8" fmla="*/ 2268982 h 2314956"/>
              <a:gd name="connsiteX9" fmla="*/ 158737 w 2683763"/>
              <a:gd name="connsiteY9" fmla="*/ 2252447 h 2314956"/>
              <a:gd name="connsiteX10" fmla="*/ 128511 w 2683763"/>
              <a:gd name="connsiteY10" fmla="*/ 2232076 h 2314956"/>
              <a:gd name="connsiteX11" fmla="*/ 102108 w 2683763"/>
              <a:gd name="connsiteY11" fmla="*/ 2210270 h 2314956"/>
              <a:gd name="connsiteX12" fmla="*/ 30226 w 2683763"/>
              <a:gd name="connsiteY12" fmla="*/ 2076920 h 2314956"/>
              <a:gd name="connsiteX13" fmla="*/ 25400 w 2683763"/>
              <a:gd name="connsiteY13" fmla="*/ 2029562 h 2314956"/>
              <a:gd name="connsiteX14" fmla="*/ 25400 w 2683763"/>
              <a:gd name="connsiteY14" fmla="*/ 285395 h 2314956"/>
              <a:gd name="connsiteX15" fmla="*/ 30226 w 2683763"/>
              <a:gd name="connsiteY15" fmla="*/ 238062 h 2314956"/>
              <a:gd name="connsiteX16" fmla="*/ 292227 w 2683763"/>
              <a:gd name="connsiteY16" fmla="*/ 25400 h 2314956"/>
              <a:gd name="connsiteX17" fmla="*/ 2390648 w 2683763"/>
              <a:gd name="connsiteY17" fmla="*/ 25400 h 2314956"/>
              <a:gd name="connsiteX18" fmla="*/ 2390648 w 2683763"/>
              <a:gd name="connsiteY18" fmla="*/ 0 h 2314956"/>
              <a:gd name="connsiteX19" fmla="*/ 292227 w 2683763"/>
              <a:gd name="connsiteY19" fmla="*/ 0 h 2314956"/>
              <a:gd name="connsiteX20" fmla="*/ 5080 w 2683763"/>
              <a:gd name="connsiteY20" fmla="*/ 234188 h 2314956"/>
              <a:gd name="connsiteX21" fmla="*/ 0 w 2683763"/>
              <a:gd name="connsiteY21" fmla="*/ 284099 h 2314956"/>
              <a:gd name="connsiteX22" fmla="*/ 0 w 2683763"/>
              <a:gd name="connsiteY22" fmla="*/ 2030845 h 2314956"/>
              <a:gd name="connsiteX23" fmla="*/ 5080 w 2683763"/>
              <a:gd name="connsiteY23" fmla="*/ 2080781 h 2314956"/>
              <a:gd name="connsiteX24" fmla="*/ 84963 w 2683763"/>
              <a:gd name="connsiteY24" fmla="*/ 2229054 h 2314956"/>
              <a:gd name="connsiteX25" fmla="*/ 113284 w 2683763"/>
              <a:gd name="connsiteY25" fmla="*/ 2252447 h 2314956"/>
              <a:gd name="connsiteX26" fmla="*/ 145542 w 2683763"/>
              <a:gd name="connsiteY26" fmla="*/ 2274189 h 2314956"/>
              <a:gd name="connsiteX27" fmla="*/ 178181 w 2683763"/>
              <a:gd name="connsiteY27" fmla="*/ 2291906 h 2314956"/>
              <a:gd name="connsiteX28" fmla="*/ 292227 w 2683763"/>
              <a:gd name="connsiteY28" fmla="*/ 2314956 h 2314956"/>
              <a:gd name="connsiteX29" fmla="*/ 2390648 w 2683763"/>
              <a:gd name="connsiteY29" fmla="*/ 2314956 h 2314956"/>
              <a:gd name="connsiteX30" fmla="*/ 2504694 w 2683763"/>
              <a:gd name="connsiteY30" fmla="*/ 2291906 h 2314956"/>
              <a:gd name="connsiteX31" fmla="*/ 2554351 w 2683763"/>
              <a:gd name="connsiteY31" fmla="*/ 2264956 h 2314956"/>
              <a:gd name="connsiteX32" fmla="*/ 2554605 w 2683763"/>
              <a:gd name="connsiteY32" fmla="*/ 2264753 h 2314956"/>
              <a:gd name="connsiteX33" fmla="*/ 2597912 w 2683763"/>
              <a:gd name="connsiteY33" fmla="*/ 2229054 h 2314956"/>
              <a:gd name="connsiteX34" fmla="*/ 2683764 w 2683763"/>
              <a:gd name="connsiteY34" fmla="*/ 2021675 h 2314956"/>
              <a:gd name="connsiteX35" fmla="*/ 2683764 w 2683763"/>
              <a:gd name="connsiteY35" fmla="*/ 293243 h 2314956"/>
              <a:gd name="connsiteX36" fmla="*/ 2390648 w 2683763"/>
              <a:gd name="connsiteY36" fmla="*/ 0 h 2314956"/>
              <a:gd name="connsiteX37" fmla="*/ 2390648 w 2683763"/>
              <a:gd name="connsiteY37" fmla="*/ 0 h 2314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683763" h="2314956">
                <a:moveTo>
                  <a:pt x="2390648" y="25400"/>
                </a:moveTo>
                <a:cubicBezTo>
                  <a:pt x="2538273" y="25400"/>
                  <a:pt x="2658364" y="145555"/>
                  <a:pt x="2658364" y="293243"/>
                </a:cubicBezTo>
                <a:lnTo>
                  <a:pt x="2658364" y="2021675"/>
                </a:lnTo>
                <a:cubicBezTo>
                  <a:pt x="2658364" y="2092872"/>
                  <a:pt x="2630831" y="2159788"/>
                  <a:pt x="2580805" y="2210245"/>
                </a:cubicBezTo>
                <a:lnTo>
                  <a:pt x="2540101" y="2243798"/>
                </a:lnTo>
                <a:lnTo>
                  <a:pt x="2493683" y="2268982"/>
                </a:lnTo>
                <a:cubicBezTo>
                  <a:pt x="2461044" y="2282635"/>
                  <a:pt x="2426386" y="2289556"/>
                  <a:pt x="2390648" y="2289556"/>
                </a:cubicBezTo>
                <a:lnTo>
                  <a:pt x="292227" y="2289556"/>
                </a:lnTo>
                <a:cubicBezTo>
                  <a:pt x="256489" y="2289556"/>
                  <a:pt x="221831" y="2282635"/>
                  <a:pt x="189192" y="2268982"/>
                </a:cubicBezTo>
                <a:lnTo>
                  <a:pt x="158737" y="2252447"/>
                </a:lnTo>
                <a:lnTo>
                  <a:pt x="128511" y="2232076"/>
                </a:lnTo>
                <a:lnTo>
                  <a:pt x="102108" y="2210270"/>
                </a:lnTo>
                <a:cubicBezTo>
                  <a:pt x="65570" y="2173377"/>
                  <a:pt x="40741" y="2127314"/>
                  <a:pt x="30226" y="2076920"/>
                </a:cubicBezTo>
                <a:lnTo>
                  <a:pt x="25400" y="2029562"/>
                </a:lnTo>
                <a:lnTo>
                  <a:pt x="25400" y="285395"/>
                </a:lnTo>
                <a:lnTo>
                  <a:pt x="30226" y="238062"/>
                </a:lnTo>
                <a:cubicBezTo>
                  <a:pt x="56019" y="114757"/>
                  <a:pt x="166014" y="25400"/>
                  <a:pt x="292227" y="25400"/>
                </a:cubicBezTo>
                <a:lnTo>
                  <a:pt x="2390648" y="25400"/>
                </a:lnTo>
                <a:moveTo>
                  <a:pt x="2390648" y="0"/>
                </a:moveTo>
                <a:lnTo>
                  <a:pt x="292227" y="0"/>
                </a:lnTo>
                <a:cubicBezTo>
                  <a:pt x="150622" y="0"/>
                  <a:pt x="32385" y="100584"/>
                  <a:pt x="5080" y="234188"/>
                </a:cubicBezTo>
                <a:lnTo>
                  <a:pt x="0" y="284099"/>
                </a:lnTo>
                <a:lnTo>
                  <a:pt x="0" y="2030845"/>
                </a:lnTo>
                <a:lnTo>
                  <a:pt x="5080" y="2080781"/>
                </a:lnTo>
                <a:cubicBezTo>
                  <a:pt x="16764" y="2138058"/>
                  <a:pt x="45212" y="2189252"/>
                  <a:pt x="84963" y="2229054"/>
                </a:cubicBezTo>
                <a:lnTo>
                  <a:pt x="113284" y="2252447"/>
                </a:lnTo>
                <a:lnTo>
                  <a:pt x="145542" y="2274189"/>
                </a:lnTo>
                <a:lnTo>
                  <a:pt x="178181" y="2291906"/>
                </a:lnTo>
                <a:cubicBezTo>
                  <a:pt x="213233" y="2306752"/>
                  <a:pt x="251714" y="2314956"/>
                  <a:pt x="292227" y="2314956"/>
                </a:cubicBezTo>
                <a:lnTo>
                  <a:pt x="2390648" y="2314956"/>
                </a:lnTo>
                <a:cubicBezTo>
                  <a:pt x="2431034" y="2314956"/>
                  <a:pt x="2469642" y="2306752"/>
                  <a:pt x="2504694" y="2291906"/>
                </a:cubicBezTo>
                <a:lnTo>
                  <a:pt x="2554351" y="2264956"/>
                </a:lnTo>
                <a:lnTo>
                  <a:pt x="2554605" y="2264753"/>
                </a:lnTo>
                <a:lnTo>
                  <a:pt x="2597912" y="2229054"/>
                </a:lnTo>
                <a:cubicBezTo>
                  <a:pt x="2650998" y="2175980"/>
                  <a:pt x="2683764" y="2102663"/>
                  <a:pt x="2683764" y="2021675"/>
                </a:cubicBezTo>
                <a:lnTo>
                  <a:pt x="2683764" y="293243"/>
                </a:lnTo>
                <a:cubicBezTo>
                  <a:pt x="2683764" y="131318"/>
                  <a:pt x="2552573" y="0"/>
                  <a:pt x="2390648" y="0"/>
                </a:cubicBezTo>
                <a:lnTo>
                  <a:pt x="2390648" y="0"/>
                </a:lnTo>
                <a:close/>
              </a:path>
            </a:pathLst>
          </a:custGeom>
          <a:solidFill>
            <a:srgbClr val="858900"/>
          </a:solidFill>
          <a:ln w="12700" cap="flat">
            <a:noFill/>
            <a:prstDash val="solid"/>
            <a:miter/>
          </a:ln>
        </p:spPr>
        <p:txBody>
          <a:bodyPr lIns="144000" tIns="144000" rIns="144000" bIns="144000" rtlCol="0" anchor="ctr"/>
          <a:lstStyle/>
          <a:p>
            <a:pPr lvl="4"/>
            <a:r>
              <a:rPr lang="en-GB" sz="1800" dirty="0" err="1"/>
              <a:t>Dimensión</a:t>
            </a:r>
            <a:r>
              <a:rPr lang="en-GB" sz="1800" dirty="0"/>
              <a:t> socia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3604DB5-4573-E621-49B0-08859760A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 err="1"/>
              <a:t>Hech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la </a:t>
            </a:r>
            <a:r>
              <a:rPr lang="en-GB" dirty="0" err="1"/>
              <a:t>Mortalidad</a:t>
            </a:r>
            <a:endParaRPr lang="en-GB" dirty="0"/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6AB10A05-AAB8-AC8B-688B-D0C5D4A95E2F}"/>
              </a:ext>
            </a:extLst>
          </p:cNvPr>
          <p:cNvCxnSpPr/>
          <p:nvPr/>
        </p:nvCxnSpPr>
        <p:spPr>
          <a:xfrm>
            <a:off x="7819292" y="3583320"/>
            <a:ext cx="0" cy="496311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E1AF21AA-3B4F-144F-44FB-4B68AA89F9A1}"/>
              </a:ext>
            </a:extLst>
          </p:cNvPr>
          <p:cNvCxnSpPr/>
          <p:nvPr/>
        </p:nvCxnSpPr>
        <p:spPr>
          <a:xfrm>
            <a:off x="5612593" y="3583320"/>
            <a:ext cx="876915" cy="687239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AB648E7-9941-A9CE-557E-4E4D4A8163AE}"/>
              </a:ext>
            </a:extLst>
          </p:cNvPr>
          <p:cNvCxnSpPr/>
          <p:nvPr/>
        </p:nvCxnSpPr>
        <p:spPr>
          <a:xfrm>
            <a:off x="5657086" y="5428037"/>
            <a:ext cx="620399" cy="0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6FD2D0A-B101-8E81-DB67-01F222972DDD}"/>
              </a:ext>
            </a:extLst>
          </p:cNvPr>
          <p:cNvGrpSpPr/>
          <p:nvPr/>
        </p:nvGrpSpPr>
        <p:grpSpPr>
          <a:xfrm>
            <a:off x="11140704" y="272485"/>
            <a:ext cx="762370" cy="1136621"/>
            <a:chOff x="5718680" y="3174628"/>
            <a:chExt cx="905228" cy="1382674"/>
          </a:xfrm>
        </p:grpSpPr>
        <p:grpSp>
          <p:nvGrpSpPr>
            <p:cNvPr id="17" name="Group 4">
              <a:extLst>
                <a:ext uri="{FF2B5EF4-FFF2-40B4-BE49-F238E27FC236}">
                  <a16:creationId xmlns:a16="http://schemas.microsoft.com/office/drawing/2014/main" id="{F357277F-F153-FB11-F359-0B95B5D55E0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4181" y="3174628"/>
              <a:ext cx="879727" cy="716610"/>
              <a:chOff x="3601" y="1965"/>
              <a:chExt cx="480" cy="391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E47FB475-9C84-6506-7062-9658B222EA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2042"/>
                <a:ext cx="101" cy="314"/>
              </a:xfrm>
              <a:custGeom>
                <a:avLst/>
                <a:gdLst>
                  <a:gd name="T0" fmla="*/ 80 w 101"/>
                  <a:gd name="T1" fmla="*/ 0 h 314"/>
                  <a:gd name="T2" fmla="*/ 21 w 101"/>
                  <a:gd name="T3" fmla="*/ 0 h 314"/>
                  <a:gd name="T4" fmla="*/ 0 w 101"/>
                  <a:gd name="T5" fmla="*/ 148 h 314"/>
                  <a:gd name="T6" fmla="*/ 18 w 101"/>
                  <a:gd name="T7" fmla="*/ 148 h 314"/>
                  <a:gd name="T8" fmla="*/ 18 w 101"/>
                  <a:gd name="T9" fmla="*/ 300 h 314"/>
                  <a:gd name="T10" fmla="*/ 18 w 101"/>
                  <a:gd name="T11" fmla="*/ 300 h 314"/>
                  <a:gd name="T12" fmla="*/ 19 w 101"/>
                  <a:gd name="T13" fmla="*/ 306 h 314"/>
                  <a:gd name="T14" fmla="*/ 21 w 101"/>
                  <a:gd name="T15" fmla="*/ 311 h 314"/>
                  <a:gd name="T16" fmla="*/ 27 w 101"/>
                  <a:gd name="T17" fmla="*/ 313 h 314"/>
                  <a:gd name="T18" fmla="*/ 32 w 101"/>
                  <a:gd name="T19" fmla="*/ 314 h 314"/>
                  <a:gd name="T20" fmla="*/ 32 w 101"/>
                  <a:gd name="T21" fmla="*/ 314 h 314"/>
                  <a:gd name="T22" fmla="*/ 37 w 101"/>
                  <a:gd name="T23" fmla="*/ 313 h 314"/>
                  <a:gd name="T24" fmla="*/ 41 w 101"/>
                  <a:gd name="T25" fmla="*/ 311 h 314"/>
                  <a:gd name="T26" fmla="*/ 45 w 101"/>
                  <a:gd name="T27" fmla="*/ 306 h 314"/>
                  <a:gd name="T28" fmla="*/ 46 w 101"/>
                  <a:gd name="T29" fmla="*/ 300 h 314"/>
                  <a:gd name="T30" fmla="*/ 46 w 101"/>
                  <a:gd name="T31" fmla="*/ 148 h 314"/>
                  <a:gd name="T32" fmla="*/ 56 w 101"/>
                  <a:gd name="T33" fmla="*/ 148 h 314"/>
                  <a:gd name="T34" fmla="*/ 56 w 101"/>
                  <a:gd name="T35" fmla="*/ 300 h 314"/>
                  <a:gd name="T36" fmla="*/ 56 w 101"/>
                  <a:gd name="T37" fmla="*/ 300 h 314"/>
                  <a:gd name="T38" fmla="*/ 57 w 101"/>
                  <a:gd name="T39" fmla="*/ 306 h 314"/>
                  <a:gd name="T40" fmla="*/ 61 w 101"/>
                  <a:gd name="T41" fmla="*/ 311 h 314"/>
                  <a:gd name="T42" fmla="*/ 65 w 101"/>
                  <a:gd name="T43" fmla="*/ 313 h 314"/>
                  <a:gd name="T44" fmla="*/ 70 w 101"/>
                  <a:gd name="T45" fmla="*/ 314 h 314"/>
                  <a:gd name="T46" fmla="*/ 70 w 101"/>
                  <a:gd name="T47" fmla="*/ 314 h 314"/>
                  <a:gd name="T48" fmla="*/ 75 w 101"/>
                  <a:gd name="T49" fmla="*/ 313 h 314"/>
                  <a:gd name="T50" fmla="*/ 80 w 101"/>
                  <a:gd name="T51" fmla="*/ 311 h 314"/>
                  <a:gd name="T52" fmla="*/ 83 w 101"/>
                  <a:gd name="T53" fmla="*/ 306 h 314"/>
                  <a:gd name="T54" fmla="*/ 84 w 101"/>
                  <a:gd name="T55" fmla="*/ 300 h 314"/>
                  <a:gd name="T56" fmla="*/ 84 w 101"/>
                  <a:gd name="T57" fmla="*/ 148 h 314"/>
                  <a:gd name="T58" fmla="*/ 101 w 101"/>
                  <a:gd name="T59" fmla="*/ 148 h 314"/>
                  <a:gd name="T60" fmla="*/ 80 w 101"/>
                  <a:gd name="T6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1" h="314">
                    <a:moveTo>
                      <a:pt x="80" y="0"/>
                    </a:moveTo>
                    <a:lnTo>
                      <a:pt x="21" y="0"/>
                    </a:lnTo>
                    <a:lnTo>
                      <a:pt x="0" y="148"/>
                    </a:lnTo>
                    <a:lnTo>
                      <a:pt x="18" y="148"/>
                    </a:lnTo>
                    <a:lnTo>
                      <a:pt x="18" y="300"/>
                    </a:lnTo>
                    <a:lnTo>
                      <a:pt x="18" y="300"/>
                    </a:lnTo>
                    <a:lnTo>
                      <a:pt x="19" y="306"/>
                    </a:lnTo>
                    <a:lnTo>
                      <a:pt x="21" y="311"/>
                    </a:lnTo>
                    <a:lnTo>
                      <a:pt x="27" y="313"/>
                    </a:lnTo>
                    <a:lnTo>
                      <a:pt x="32" y="314"/>
                    </a:lnTo>
                    <a:lnTo>
                      <a:pt x="32" y="314"/>
                    </a:lnTo>
                    <a:lnTo>
                      <a:pt x="37" y="313"/>
                    </a:lnTo>
                    <a:lnTo>
                      <a:pt x="41" y="311"/>
                    </a:lnTo>
                    <a:lnTo>
                      <a:pt x="45" y="306"/>
                    </a:lnTo>
                    <a:lnTo>
                      <a:pt x="46" y="300"/>
                    </a:lnTo>
                    <a:lnTo>
                      <a:pt x="46" y="148"/>
                    </a:lnTo>
                    <a:lnTo>
                      <a:pt x="56" y="148"/>
                    </a:lnTo>
                    <a:lnTo>
                      <a:pt x="56" y="300"/>
                    </a:lnTo>
                    <a:lnTo>
                      <a:pt x="56" y="300"/>
                    </a:lnTo>
                    <a:lnTo>
                      <a:pt x="57" y="306"/>
                    </a:lnTo>
                    <a:lnTo>
                      <a:pt x="61" y="311"/>
                    </a:lnTo>
                    <a:lnTo>
                      <a:pt x="65" y="313"/>
                    </a:lnTo>
                    <a:lnTo>
                      <a:pt x="70" y="314"/>
                    </a:lnTo>
                    <a:lnTo>
                      <a:pt x="70" y="314"/>
                    </a:lnTo>
                    <a:lnTo>
                      <a:pt x="75" y="313"/>
                    </a:lnTo>
                    <a:lnTo>
                      <a:pt x="80" y="311"/>
                    </a:lnTo>
                    <a:lnTo>
                      <a:pt x="83" y="306"/>
                    </a:lnTo>
                    <a:lnTo>
                      <a:pt x="84" y="300"/>
                    </a:lnTo>
                    <a:lnTo>
                      <a:pt x="84" y="148"/>
                    </a:lnTo>
                    <a:lnTo>
                      <a:pt x="101" y="148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A130E6EE-386B-3627-1E54-A734ACFB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1965"/>
                <a:ext cx="73" cy="73"/>
              </a:xfrm>
              <a:custGeom>
                <a:avLst/>
                <a:gdLst>
                  <a:gd name="T0" fmla="*/ 37 w 73"/>
                  <a:gd name="T1" fmla="*/ 73 h 73"/>
                  <a:gd name="T2" fmla="*/ 37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7 w 73"/>
                  <a:gd name="T13" fmla="*/ 56 h 73"/>
                  <a:gd name="T14" fmla="*/ 71 w 73"/>
                  <a:gd name="T15" fmla="*/ 50 h 73"/>
                  <a:gd name="T16" fmla="*/ 73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3 w 73"/>
                  <a:gd name="T23" fmla="*/ 28 h 73"/>
                  <a:gd name="T24" fmla="*/ 71 w 73"/>
                  <a:gd name="T25" fmla="*/ 22 h 73"/>
                  <a:gd name="T26" fmla="*/ 67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7 w 73"/>
                  <a:gd name="T37" fmla="*/ 0 h 73"/>
                  <a:gd name="T38" fmla="*/ 37 w 73"/>
                  <a:gd name="T39" fmla="*/ 0 h 73"/>
                  <a:gd name="T40" fmla="*/ 30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6 w 73"/>
                  <a:gd name="T49" fmla="*/ 16 h 73"/>
                  <a:gd name="T50" fmla="*/ 3 w 73"/>
                  <a:gd name="T51" fmla="*/ 22 h 73"/>
                  <a:gd name="T52" fmla="*/ 1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1 w 73"/>
                  <a:gd name="T59" fmla="*/ 43 h 73"/>
                  <a:gd name="T60" fmla="*/ 3 w 73"/>
                  <a:gd name="T61" fmla="*/ 50 h 73"/>
                  <a:gd name="T62" fmla="*/ 6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30 w 73"/>
                  <a:gd name="T71" fmla="*/ 71 h 73"/>
                  <a:gd name="T72" fmla="*/ 37 w 73"/>
                  <a:gd name="T73" fmla="*/ 73 h 73"/>
                  <a:gd name="T74" fmla="*/ 37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7" y="73"/>
                    </a:moveTo>
                    <a:lnTo>
                      <a:pt x="37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7" y="56"/>
                    </a:lnTo>
                    <a:lnTo>
                      <a:pt x="71" y="50"/>
                    </a:lnTo>
                    <a:lnTo>
                      <a:pt x="73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28"/>
                    </a:lnTo>
                    <a:lnTo>
                      <a:pt x="71" y="22"/>
                    </a:lnTo>
                    <a:lnTo>
                      <a:pt x="67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30" y="71"/>
                    </a:lnTo>
                    <a:lnTo>
                      <a:pt x="37" y="73"/>
                    </a:lnTo>
                    <a:lnTo>
                      <a:pt x="37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" name="Freeform 7">
                <a:extLst>
                  <a:ext uri="{FF2B5EF4-FFF2-40B4-BE49-F238E27FC236}">
                    <a16:creationId xmlns:a16="http://schemas.microsoft.com/office/drawing/2014/main" id="{E712E996-5724-61A0-503C-634FA1366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2042"/>
                <a:ext cx="39" cy="156"/>
              </a:xfrm>
              <a:custGeom>
                <a:avLst/>
                <a:gdLst>
                  <a:gd name="T0" fmla="*/ 0 w 39"/>
                  <a:gd name="T1" fmla="*/ 0 h 156"/>
                  <a:gd name="T2" fmla="*/ 21 w 39"/>
                  <a:gd name="T3" fmla="*/ 148 h 156"/>
                  <a:gd name="T4" fmla="*/ 21 w 39"/>
                  <a:gd name="T5" fmla="*/ 148 h 156"/>
                  <a:gd name="T6" fmla="*/ 22 w 39"/>
                  <a:gd name="T7" fmla="*/ 151 h 156"/>
                  <a:gd name="T8" fmla="*/ 24 w 39"/>
                  <a:gd name="T9" fmla="*/ 153 h 156"/>
                  <a:gd name="T10" fmla="*/ 27 w 39"/>
                  <a:gd name="T11" fmla="*/ 155 h 156"/>
                  <a:gd name="T12" fmla="*/ 31 w 39"/>
                  <a:gd name="T13" fmla="*/ 156 h 156"/>
                  <a:gd name="T14" fmla="*/ 31 w 39"/>
                  <a:gd name="T15" fmla="*/ 156 h 156"/>
                  <a:gd name="T16" fmla="*/ 34 w 39"/>
                  <a:gd name="T17" fmla="*/ 155 h 156"/>
                  <a:gd name="T18" fmla="*/ 36 w 39"/>
                  <a:gd name="T19" fmla="*/ 153 h 156"/>
                  <a:gd name="T20" fmla="*/ 38 w 39"/>
                  <a:gd name="T21" fmla="*/ 151 h 156"/>
                  <a:gd name="T22" fmla="*/ 39 w 39"/>
                  <a:gd name="T23" fmla="*/ 148 h 156"/>
                  <a:gd name="T24" fmla="*/ 15 w 39"/>
                  <a:gd name="T25" fmla="*/ 0 h 156"/>
                  <a:gd name="T26" fmla="*/ 0 w 39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56">
                    <a:moveTo>
                      <a:pt x="0" y="0"/>
                    </a:moveTo>
                    <a:lnTo>
                      <a:pt x="21" y="148"/>
                    </a:lnTo>
                    <a:lnTo>
                      <a:pt x="21" y="148"/>
                    </a:lnTo>
                    <a:lnTo>
                      <a:pt x="22" y="151"/>
                    </a:lnTo>
                    <a:lnTo>
                      <a:pt x="24" y="153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4" y="155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39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5C748318-43E6-0D1C-59E5-8695BCD4A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042"/>
                <a:ext cx="38" cy="156"/>
              </a:xfrm>
              <a:custGeom>
                <a:avLst/>
                <a:gdLst>
                  <a:gd name="T0" fmla="*/ 23 w 38"/>
                  <a:gd name="T1" fmla="*/ 0 h 156"/>
                  <a:gd name="T2" fmla="*/ 0 w 38"/>
                  <a:gd name="T3" fmla="*/ 148 h 156"/>
                  <a:gd name="T4" fmla="*/ 0 w 38"/>
                  <a:gd name="T5" fmla="*/ 148 h 156"/>
                  <a:gd name="T6" fmla="*/ 0 w 38"/>
                  <a:gd name="T7" fmla="*/ 151 h 156"/>
                  <a:gd name="T8" fmla="*/ 2 w 38"/>
                  <a:gd name="T9" fmla="*/ 153 h 156"/>
                  <a:gd name="T10" fmla="*/ 5 w 38"/>
                  <a:gd name="T11" fmla="*/ 155 h 156"/>
                  <a:gd name="T12" fmla="*/ 8 w 38"/>
                  <a:gd name="T13" fmla="*/ 156 h 156"/>
                  <a:gd name="T14" fmla="*/ 8 w 38"/>
                  <a:gd name="T15" fmla="*/ 156 h 156"/>
                  <a:gd name="T16" fmla="*/ 11 w 38"/>
                  <a:gd name="T17" fmla="*/ 155 h 156"/>
                  <a:gd name="T18" fmla="*/ 15 w 38"/>
                  <a:gd name="T19" fmla="*/ 153 h 156"/>
                  <a:gd name="T20" fmla="*/ 17 w 38"/>
                  <a:gd name="T21" fmla="*/ 151 h 156"/>
                  <a:gd name="T22" fmla="*/ 17 w 38"/>
                  <a:gd name="T23" fmla="*/ 148 h 156"/>
                  <a:gd name="T24" fmla="*/ 38 w 38"/>
                  <a:gd name="T25" fmla="*/ 0 h 156"/>
                  <a:gd name="T26" fmla="*/ 23 w 38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56">
                    <a:moveTo>
                      <a:pt x="23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7" y="151"/>
                    </a:lnTo>
                    <a:lnTo>
                      <a:pt x="17" y="148"/>
                    </a:lnTo>
                    <a:lnTo>
                      <a:pt x="38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8849838C-A4B1-13B0-0226-EC18CFDC2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1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1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CD1C0CA4-C836-BBFF-2F0F-5E2821F91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1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1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5" name="Freeform 11">
                <a:extLst>
                  <a:ext uri="{FF2B5EF4-FFF2-40B4-BE49-F238E27FC236}">
                    <a16:creationId xmlns:a16="http://schemas.microsoft.com/office/drawing/2014/main" id="{CBA8C0F8-BA1D-846B-4D7C-CD5E4DB84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4 w 73"/>
                  <a:gd name="T5" fmla="*/ 71 h 73"/>
                  <a:gd name="T6" fmla="*/ 51 w 73"/>
                  <a:gd name="T7" fmla="*/ 69 h 73"/>
                  <a:gd name="T8" fmla="*/ 57 w 73"/>
                  <a:gd name="T9" fmla="*/ 66 h 73"/>
                  <a:gd name="T10" fmla="*/ 63 w 73"/>
                  <a:gd name="T11" fmla="*/ 62 h 73"/>
                  <a:gd name="T12" fmla="*/ 67 w 73"/>
                  <a:gd name="T13" fmla="*/ 56 h 73"/>
                  <a:gd name="T14" fmla="*/ 70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70 w 73"/>
                  <a:gd name="T25" fmla="*/ 22 h 73"/>
                  <a:gd name="T26" fmla="*/ 67 w 73"/>
                  <a:gd name="T27" fmla="*/ 16 h 73"/>
                  <a:gd name="T28" fmla="*/ 63 w 73"/>
                  <a:gd name="T29" fmla="*/ 11 h 73"/>
                  <a:gd name="T30" fmla="*/ 57 w 73"/>
                  <a:gd name="T31" fmla="*/ 6 h 73"/>
                  <a:gd name="T32" fmla="*/ 51 w 73"/>
                  <a:gd name="T33" fmla="*/ 2 h 73"/>
                  <a:gd name="T34" fmla="*/ 44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9 w 73"/>
                  <a:gd name="T41" fmla="*/ 0 h 73"/>
                  <a:gd name="T42" fmla="*/ 23 w 73"/>
                  <a:gd name="T43" fmla="*/ 2 h 73"/>
                  <a:gd name="T44" fmla="*/ 16 w 73"/>
                  <a:gd name="T45" fmla="*/ 6 h 73"/>
                  <a:gd name="T46" fmla="*/ 11 w 73"/>
                  <a:gd name="T47" fmla="*/ 11 h 73"/>
                  <a:gd name="T48" fmla="*/ 7 w 73"/>
                  <a:gd name="T49" fmla="*/ 16 h 73"/>
                  <a:gd name="T50" fmla="*/ 4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4 w 73"/>
                  <a:gd name="T61" fmla="*/ 50 h 73"/>
                  <a:gd name="T62" fmla="*/ 7 w 73"/>
                  <a:gd name="T63" fmla="*/ 56 h 73"/>
                  <a:gd name="T64" fmla="*/ 11 w 73"/>
                  <a:gd name="T65" fmla="*/ 62 h 73"/>
                  <a:gd name="T66" fmla="*/ 16 w 73"/>
                  <a:gd name="T67" fmla="*/ 66 h 73"/>
                  <a:gd name="T68" fmla="*/ 23 w 73"/>
                  <a:gd name="T69" fmla="*/ 69 h 73"/>
                  <a:gd name="T70" fmla="*/ 29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4" y="71"/>
                    </a:lnTo>
                    <a:lnTo>
                      <a:pt x="51" y="69"/>
                    </a:lnTo>
                    <a:lnTo>
                      <a:pt x="57" y="66"/>
                    </a:lnTo>
                    <a:lnTo>
                      <a:pt x="63" y="62"/>
                    </a:lnTo>
                    <a:lnTo>
                      <a:pt x="67" y="56"/>
                    </a:lnTo>
                    <a:lnTo>
                      <a:pt x="70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7" y="16"/>
                    </a:lnTo>
                    <a:lnTo>
                      <a:pt x="63" y="11"/>
                    </a:lnTo>
                    <a:lnTo>
                      <a:pt x="57" y="6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7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4" y="50"/>
                    </a:lnTo>
                    <a:lnTo>
                      <a:pt x="7" y="56"/>
                    </a:lnTo>
                    <a:lnTo>
                      <a:pt x="11" y="62"/>
                    </a:lnTo>
                    <a:lnTo>
                      <a:pt x="16" y="66"/>
                    </a:lnTo>
                    <a:lnTo>
                      <a:pt x="23" y="69"/>
                    </a:lnTo>
                    <a:lnTo>
                      <a:pt x="29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6" name="Freeform 12">
                <a:extLst>
                  <a:ext uri="{FF2B5EF4-FFF2-40B4-BE49-F238E27FC236}">
                    <a16:creationId xmlns:a16="http://schemas.microsoft.com/office/drawing/2014/main" id="{57F74C1A-19F4-C607-47A3-6B3B92C90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2042"/>
                <a:ext cx="84" cy="314"/>
              </a:xfrm>
              <a:custGeom>
                <a:avLst/>
                <a:gdLst>
                  <a:gd name="T0" fmla="*/ 41 w 84"/>
                  <a:gd name="T1" fmla="*/ 31 h 314"/>
                  <a:gd name="T2" fmla="*/ 21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2 w 84"/>
                  <a:gd name="T21" fmla="*/ 314 h 314"/>
                  <a:gd name="T22" fmla="*/ 22 w 84"/>
                  <a:gd name="T23" fmla="*/ 314 h 314"/>
                  <a:gd name="T24" fmla="*/ 28 w 84"/>
                  <a:gd name="T25" fmla="*/ 313 h 314"/>
                  <a:gd name="T26" fmla="*/ 33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0 w 84"/>
                  <a:gd name="T47" fmla="*/ 314 h 314"/>
                  <a:gd name="T48" fmla="*/ 60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5 w 84"/>
                  <a:gd name="T57" fmla="*/ 300 h 314"/>
                  <a:gd name="T58" fmla="*/ 75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2 w 84"/>
                  <a:gd name="T65" fmla="*/ 0 h 314"/>
                  <a:gd name="T66" fmla="*/ 41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1" y="31"/>
                    </a:moveTo>
                    <a:lnTo>
                      <a:pt x="21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2" y="314"/>
                    </a:lnTo>
                    <a:lnTo>
                      <a:pt x="22" y="314"/>
                    </a:lnTo>
                    <a:lnTo>
                      <a:pt x="28" y="313"/>
                    </a:lnTo>
                    <a:lnTo>
                      <a:pt x="33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5" y="300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2" y="0"/>
                    </a:lnTo>
                    <a:lnTo>
                      <a:pt x="41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7" name="Freeform 13">
                <a:extLst>
                  <a:ext uri="{FF2B5EF4-FFF2-40B4-BE49-F238E27FC236}">
                    <a16:creationId xmlns:a16="http://schemas.microsoft.com/office/drawing/2014/main" id="{5B72C611-7112-C58B-65A2-FB609731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2042"/>
                <a:ext cx="23" cy="156"/>
              </a:xfrm>
              <a:custGeom>
                <a:avLst/>
                <a:gdLst>
                  <a:gd name="T0" fmla="*/ 0 w 23"/>
                  <a:gd name="T1" fmla="*/ 0 h 156"/>
                  <a:gd name="T2" fmla="*/ 6 w 23"/>
                  <a:gd name="T3" fmla="*/ 148 h 156"/>
                  <a:gd name="T4" fmla="*/ 6 w 23"/>
                  <a:gd name="T5" fmla="*/ 148 h 156"/>
                  <a:gd name="T6" fmla="*/ 6 w 23"/>
                  <a:gd name="T7" fmla="*/ 151 h 156"/>
                  <a:gd name="T8" fmla="*/ 8 w 23"/>
                  <a:gd name="T9" fmla="*/ 153 h 156"/>
                  <a:gd name="T10" fmla="*/ 12 w 23"/>
                  <a:gd name="T11" fmla="*/ 155 h 156"/>
                  <a:gd name="T12" fmla="*/ 15 w 23"/>
                  <a:gd name="T13" fmla="*/ 156 h 156"/>
                  <a:gd name="T14" fmla="*/ 15 w 23"/>
                  <a:gd name="T15" fmla="*/ 156 h 156"/>
                  <a:gd name="T16" fmla="*/ 18 w 23"/>
                  <a:gd name="T17" fmla="*/ 155 h 156"/>
                  <a:gd name="T18" fmla="*/ 21 w 23"/>
                  <a:gd name="T19" fmla="*/ 153 h 156"/>
                  <a:gd name="T20" fmla="*/ 23 w 23"/>
                  <a:gd name="T21" fmla="*/ 151 h 156"/>
                  <a:gd name="T22" fmla="*/ 23 w 23"/>
                  <a:gd name="T23" fmla="*/ 148 h 156"/>
                  <a:gd name="T24" fmla="*/ 15 w 23"/>
                  <a:gd name="T25" fmla="*/ 0 h 156"/>
                  <a:gd name="T26" fmla="*/ 0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0" y="0"/>
                    </a:moveTo>
                    <a:lnTo>
                      <a:pt x="6" y="148"/>
                    </a:lnTo>
                    <a:lnTo>
                      <a:pt x="6" y="148"/>
                    </a:lnTo>
                    <a:lnTo>
                      <a:pt x="6" y="151"/>
                    </a:lnTo>
                    <a:lnTo>
                      <a:pt x="8" y="153"/>
                    </a:lnTo>
                    <a:lnTo>
                      <a:pt x="12" y="155"/>
                    </a:lnTo>
                    <a:lnTo>
                      <a:pt x="15" y="156"/>
                    </a:lnTo>
                    <a:lnTo>
                      <a:pt x="15" y="156"/>
                    </a:lnTo>
                    <a:lnTo>
                      <a:pt x="18" y="155"/>
                    </a:lnTo>
                    <a:lnTo>
                      <a:pt x="21" y="153"/>
                    </a:lnTo>
                    <a:lnTo>
                      <a:pt x="23" y="151"/>
                    </a:lnTo>
                    <a:lnTo>
                      <a:pt x="23" y="148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14">
                <a:extLst>
                  <a:ext uri="{FF2B5EF4-FFF2-40B4-BE49-F238E27FC236}">
                    <a16:creationId xmlns:a16="http://schemas.microsoft.com/office/drawing/2014/main" id="{79507616-AC9F-216D-9EF0-0B9F4B0C0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2042"/>
                <a:ext cx="23" cy="156"/>
              </a:xfrm>
              <a:custGeom>
                <a:avLst/>
                <a:gdLst>
                  <a:gd name="T0" fmla="*/ 8 w 23"/>
                  <a:gd name="T1" fmla="*/ 0 h 156"/>
                  <a:gd name="T2" fmla="*/ 0 w 23"/>
                  <a:gd name="T3" fmla="*/ 148 h 156"/>
                  <a:gd name="T4" fmla="*/ 0 w 23"/>
                  <a:gd name="T5" fmla="*/ 148 h 156"/>
                  <a:gd name="T6" fmla="*/ 0 w 23"/>
                  <a:gd name="T7" fmla="*/ 151 h 156"/>
                  <a:gd name="T8" fmla="*/ 2 w 23"/>
                  <a:gd name="T9" fmla="*/ 153 h 156"/>
                  <a:gd name="T10" fmla="*/ 5 w 23"/>
                  <a:gd name="T11" fmla="*/ 155 h 156"/>
                  <a:gd name="T12" fmla="*/ 8 w 23"/>
                  <a:gd name="T13" fmla="*/ 156 h 156"/>
                  <a:gd name="T14" fmla="*/ 8 w 23"/>
                  <a:gd name="T15" fmla="*/ 156 h 156"/>
                  <a:gd name="T16" fmla="*/ 12 w 23"/>
                  <a:gd name="T17" fmla="*/ 155 h 156"/>
                  <a:gd name="T18" fmla="*/ 15 w 23"/>
                  <a:gd name="T19" fmla="*/ 153 h 156"/>
                  <a:gd name="T20" fmla="*/ 16 w 23"/>
                  <a:gd name="T21" fmla="*/ 151 h 156"/>
                  <a:gd name="T22" fmla="*/ 17 w 23"/>
                  <a:gd name="T23" fmla="*/ 148 h 156"/>
                  <a:gd name="T24" fmla="*/ 23 w 23"/>
                  <a:gd name="T25" fmla="*/ 0 h 156"/>
                  <a:gd name="T26" fmla="*/ 8 w 23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56">
                    <a:moveTo>
                      <a:pt x="8" y="0"/>
                    </a:moveTo>
                    <a:lnTo>
                      <a:pt x="0" y="148"/>
                    </a:lnTo>
                    <a:lnTo>
                      <a:pt x="0" y="148"/>
                    </a:lnTo>
                    <a:lnTo>
                      <a:pt x="0" y="151"/>
                    </a:lnTo>
                    <a:lnTo>
                      <a:pt x="2" y="153"/>
                    </a:lnTo>
                    <a:lnTo>
                      <a:pt x="5" y="155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12" y="155"/>
                    </a:lnTo>
                    <a:lnTo>
                      <a:pt x="15" y="153"/>
                    </a:lnTo>
                    <a:lnTo>
                      <a:pt x="16" y="151"/>
                    </a:lnTo>
                    <a:lnTo>
                      <a:pt x="17" y="148"/>
                    </a:lnTo>
                    <a:lnTo>
                      <a:pt x="2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15">
                <a:extLst>
                  <a:ext uri="{FF2B5EF4-FFF2-40B4-BE49-F238E27FC236}">
                    <a16:creationId xmlns:a16="http://schemas.microsoft.com/office/drawing/2014/main" id="{8F2F52DB-AAD0-8578-A5AB-FF1081024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1965"/>
                <a:ext cx="73" cy="73"/>
              </a:xfrm>
              <a:custGeom>
                <a:avLst/>
                <a:gdLst>
                  <a:gd name="T0" fmla="*/ 36 w 73"/>
                  <a:gd name="T1" fmla="*/ 73 h 73"/>
                  <a:gd name="T2" fmla="*/ 36 w 73"/>
                  <a:gd name="T3" fmla="*/ 73 h 73"/>
                  <a:gd name="T4" fmla="*/ 43 w 73"/>
                  <a:gd name="T5" fmla="*/ 71 h 73"/>
                  <a:gd name="T6" fmla="*/ 50 w 73"/>
                  <a:gd name="T7" fmla="*/ 69 h 73"/>
                  <a:gd name="T8" fmla="*/ 57 w 73"/>
                  <a:gd name="T9" fmla="*/ 66 h 73"/>
                  <a:gd name="T10" fmla="*/ 62 w 73"/>
                  <a:gd name="T11" fmla="*/ 62 h 73"/>
                  <a:gd name="T12" fmla="*/ 66 w 73"/>
                  <a:gd name="T13" fmla="*/ 56 h 73"/>
                  <a:gd name="T14" fmla="*/ 69 w 73"/>
                  <a:gd name="T15" fmla="*/ 50 h 73"/>
                  <a:gd name="T16" fmla="*/ 72 w 73"/>
                  <a:gd name="T17" fmla="*/ 43 h 73"/>
                  <a:gd name="T18" fmla="*/ 73 w 73"/>
                  <a:gd name="T19" fmla="*/ 36 h 73"/>
                  <a:gd name="T20" fmla="*/ 73 w 73"/>
                  <a:gd name="T21" fmla="*/ 36 h 73"/>
                  <a:gd name="T22" fmla="*/ 72 w 73"/>
                  <a:gd name="T23" fmla="*/ 28 h 73"/>
                  <a:gd name="T24" fmla="*/ 69 w 73"/>
                  <a:gd name="T25" fmla="*/ 22 h 73"/>
                  <a:gd name="T26" fmla="*/ 66 w 73"/>
                  <a:gd name="T27" fmla="*/ 16 h 73"/>
                  <a:gd name="T28" fmla="*/ 62 w 73"/>
                  <a:gd name="T29" fmla="*/ 11 h 73"/>
                  <a:gd name="T30" fmla="*/ 57 w 73"/>
                  <a:gd name="T31" fmla="*/ 6 h 73"/>
                  <a:gd name="T32" fmla="*/ 50 w 73"/>
                  <a:gd name="T33" fmla="*/ 2 h 73"/>
                  <a:gd name="T34" fmla="*/ 43 w 73"/>
                  <a:gd name="T35" fmla="*/ 0 h 73"/>
                  <a:gd name="T36" fmla="*/ 36 w 73"/>
                  <a:gd name="T37" fmla="*/ 0 h 73"/>
                  <a:gd name="T38" fmla="*/ 36 w 73"/>
                  <a:gd name="T39" fmla="*/ 0 h 73"/>
                  <a:gd name="T40" fmla="*/ 28 w 73"/>
                  <a:gd name="T41" fmla="*/ 0 h 73"/>
                  <a:gd name="T42" fmla="*/ 22 w 73"/>
                  <a:gd name="T43" fmla="*/ 2 h 73"/>
                  <a:gd name="T44" fmla="*/ 16 w 73"/>
                  <a:gd name="T45" fmla="*/ 6 h 73"/>
                  <a:gd name="T46" fmla="*/ 10 w 73"/>
                  <a:gd name="T47" fmla="*/ 11 h 73"/>
                  <a:gd name="T48" fmla="*/ 6 w 73"/>
                  <a:gd name="T49" fmla="*/ 16 h 73"/>
                  <a:gd name="T50" fmla="*/ 2 w 73"/>
                  <a:gd name="T51" fmla="*/ 22 h 73"/>
                  <a:gd name="T52" fmla="*/ 0 w 73"/>
                  <a:gd name="T53" fmla="*/ 28 h 73"/>
                  <a:gd name="T54" fmla="*/ 0 w 73"/>
                  <a:gd name="T55" fmla="*/ 36 h 73"/>
                  <a:gd name="T56" fmla="*/ 0 w 73"/>
                  <a:gd name="T57" fmla="*/ 36 h 73"/>
                  <a:gd name="T58" fmla="*/ 0 w 73"/>
                  <a:gd name="T59" fmla="*/ 43 h 73"/>
                  <a:gd name="T60" fmla="*/ 2 w 73"/>
                  <a:gd name="T61" fmla="*/ 50 h 73"/>
                  <a:gd name="T62" fmla="*/ 6 w 73"/>
                  <a:gd name="T63" fmla="*/ 56 h 73"/>
                  <a:gd name="T64" fmla="*/ 10 w 73"/>
                  <a:gd name="T65" fmla="*/ 62 h 73"/>
                  <a:gd name="T66" fmla="*/ 16 w 73"/>
                  <a:gd name="T67" fmla="*/ 66 h 73"/>
                  <a:gd name="T68" fmla="*/ 22 w 73"/>
                  <a:gd name="T69" fmla="*/ 69 h 73"/>
                  <a:gd name="T70" fmla="*/ 28 w 73"/>
                  <a:gd name="T71" fmla="*/ 71 h 73"/>
                  <a:gd name="T72" fmla="*/ 36 w 73"/>
                  <a:gd name="T73" fmla="*/ 73 h 73"/>
                  <a:gd name="T74" fmla="*/ 36 w 73"/>
                  <a:gd name="T7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73">
                    <a:moveTo>
                      <a:pt x="36" y="73"/>
                    </a:moveTo>
                    <a:lnTo>
                      <a:pt x="36" y="73"/>
                    </a:lnTo>
                    <a:lnTo>
                      <a:pt x="43" y="71"/>
                    </a:lnTo>
                    <a:lnTo>
                      <a:pt x="50" y="69"/>
                    </a:lnTo>
                    <a:lnTo>
                      <a:pt x="57" y="66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69" y="50"/>
                    </a:lnTo>
                    <a:lnTo>
                      <a:pt x="72" y="43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2" y="28"/>
                    </a:lnTo>
                    <a:lnTo>
                      <a:pt x="69" y="22"/>
                    </a:lnTo>
                    <a:lnTo>
                      <a:pt x="66" y="16"/>
                    </a:lnTo>
                    <a:lnTo>
                      <a:pt x="62" y="11"/>
                    </a:lnTo>
                    <a:lnTo>
                      <a:pt x="57" y="6"/>
                    </a:lnTo>
                    <a:lnTo>
                      <a:pt x="50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9"/>
                    </a:lnTo>
                    <a:lnTo>
                      <a:pt x="28" y="71"/>
                    </a:lnTo>
                    <a:lnTo>
                      <a:pt x="36" y="73"/>
                    </a:lnTo>
                    <a:lnTo>
                      <a:pt x="36" y="73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16">
                <a:extLst>
                  <a:ext uri="{FF2B5EF4-FFF2-40B4-BE49-F238E27FC236}">
                    <a16:creationId xmlns:a16="http://schemas.microsoft.com/office/drawing/2014/main" id="{58435A49-6F0F-01D7-53CC-2283CC8D1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042"/>
                <a:ext cx="84" cy="314"/>
              </a:xfrm>
              <a:custGeom>
                <a:avLst/>
                <a:gdLst>
                  <a:gd name="T0" fmla="*/ 42 w 84"/>
                  <a:gd name="T1" fmla="*/ 31 h 314"/>
                  <a:gd name="T2" fmla="*/ 22 w 84"/>
                  <a:gd name="T3" fmla="*/ 0 h 314"/>
                  <a:gd name="T4" fmla="*/ 0 w 84"/>
                  <a:gd name="T5" fmla="*/ 0 h 314"/>
                  <a:gd name="T6" fmla="*/ 9 w 84"/>
                  <a:gd name="T7" fmla="*/ 148 h 314"/>
                  <a:gd name="T8" fmla="*/ 9 w 84"/>
                  <a:gd name="T9" fmla="*/ 148 h 314"/>
                  <a:gd name="T10" fmla="*/ 9 w 84"/>
                  <a:gd name="T11" fmla="*/ 300 h 314"/>
                  <a:gd name="T12" fmla="*/ 9 w 84"/>
                  <a:gd name="T13" fmla="*/ 300 h 314"/>
                  <a:gd name="T14" fmla="*/ 10 w 84"/>
                  <a:gd name="T15" fmla="*/ 306 h 314"/>
                  <a:gd name="T16" fmla="*/ 13 w 84"/>
                  <a:gd name="T17" fmla="*/ 311 h 314"/>
                  <a:gd name="T18" fmla="*/ 17 w 84"/>
                  <a:gd name="T19" fmla="*/ 313 h 314"/>
                  <a:gd name="T20" fmla="*/ 23 w 84"/>
                  <a:gd name="T21" fmla="*/ 314 h 314"/>
                  <a:gd name="T22" fmla="*/ 23 w 84"/>
                  <a:gd name="T23" fmla="*/ 314 h 314"/>
                  <a:gd name="T24" fmla="*/ 28 w 84"/>
                  <a:gd name="T25" fmla="*/ 313 h 314"/>
                  <a:gd name="T26" fmla="*/ 32 w 84"/>
                  <a:gd name="T27" fmla="*/ 311 h 314"/>
                  <a:gd name="T28" fmla="*/ 35 w 84"/>
                  <a:gd name="T29" fmla="*/ 306 h 314"/>
                  <a:gd name="T30" fmla="*/ 36 w 84"/>
                  <a:gd name="T31" fmla="*/ 300 h 314"/>
                  <a:gd name="T32" fmla="*/ 36 w 84"/>
                  <a:gd name="T33" fmla="*/ 148 h 314"/>
                  <a:gd name="T34" fmla="*/ 47 w 84"/>
                  <a:gd name="T35" fmla="*/ 148 h 314"/>
                  <a:gd name="T36" fmla="*/ 47 w 84"/>
                  <a:gd name="T37" fmla="*/ 300 h 314"/>
                  <a:gd name="T38" fmla="*/ 47 w 84"/>
                  <a:gd name="T39" fmla="*/ 300 h 314"/>
                  <a:gd name="T40" fmla="*/ 48 w 84"/>
                  <a:gd name="T41" fmla="*/ 306 h 314"/>
                  <a:gd name="T42" fmla="*/ 51 w 84"/>
                  <a:gd name="T43" fmla="*/ 311 h 314"/>
                  <a:gd name="T44" fmla="*/ 55 w 84"/>
                  <a:gd name="T45" fmla="*/ 313 h 314"/>
                  <a:gd name="T46" fmla="*/ 61 w 84"/>
                  <a:gd name="T47" fmla="*/ 314 h 314"/>
                  <a:gd name="T48" fmla="*/ 61 w 84"/>
                  <a:gd name="T49" fmla="*/ 314 h 314"/>
                  <a:gd name="T50" fmla="*/ 66 w 84"/>
                  <a:gd name="T51" fmla="*/ 313 h 314"/>
                  <a:gd name="T52" fmla="*/ 71 w 84"/>
                  <a:gd name="T53" fmla="*/ 311 h 314"/>
                  <a:gd name="T54" fmla="*/ 73 w 84"/>
                  <a:gd name="T55" fmla="*/ 306 h 314"/>
                  <a:gd name="T56" fmla="*/ 74 w 84"/>
                  <a:gd name="T57" fmla="*/ 300 h 314"/>
                  <a:gd name="T58" fmla="*/ 74 w 84"/>
                  <a:gd name="T59" fmla="*/ 148 h 314"/>
                  <a:gd name="T60" fmla="*/ 75 w 84"/>
                  <a:gd name="T61" fmla="*/ 148 h 314"/>
                  <a:gd name="T62" fmla="*/ 84 w 84"/>
                  <a:gd name="T63" fmla="*/ 0 h 314"/>
                  <a:gd name="T64" fmla="*/ 63 w 84"/>
                  <a:gd name="T65" fmla="*/ 0 h 314"/>
                  <a:gd name="T66" fmla="*/ 42 w 84"/>
                  <a:gd name="T67" fmla="*/ 31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314">
                    <a:moveTo>
                      <a:pt x="42" y="31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9" y="148"/>
                    </a:lnTo>
                    <a:lnTo>
                      <a:pt x="9" y="148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0" y="306"/>
                    </a:lnTo>
                    <a:lnTo>
                      <a:pt x="13" y="311"/>
                    </a:lnTo>
                    <a:lnTo>
                      <a:pt x="17" y="313"/>
                    </a:lnTo>
                    <a:lnTo>
                      <a:pt x="23" y="314"/>
                    </a:lnTo>
                    <a:lnTo>
                      <a:pt x="23" y="314"/>
                    </a:lnTo>
                    <a:lnTo>
                      <a:pt x="28" y="313"/>
                    </a:lnTo>
                    <a:lnTo>
                      <a:pt x="32" y="311"/>
                    </a:lnTo>
                    <a:lnTo>
                      <a:pt x="35" y="306"/>
                    </a:lnTo>
                    <a:lnTo>
                      <a:pt x="36" y="300"/>
                    </a:lnTo>
                    <a:lnTo>
                      <a:pt x="36" y="148"/>
                    </a:lnTo>
                    <a:lnTo>
                      <a:pt x="47" y="148"/>
                    </a:lnTo>
                    <a:lnTo>
                      <a:pt x="47" y="300"/>
                    </a:lnTo>
                    <a:lnTo>
                      <a:pt x="47" y="300"/>
                    </a:lnTo>
                    <a:lnTo>
                      <a:pt x="48" y="306"/>
                    </a:lnTo>
                    <a:lnTo>
                      <a:pt x="51" y="311"/>
                    </a:lnTo>
                    <a:lnTo>
                      <a:pt x="55" y="313"/>
                    </a:lnTo>
                    <a:lnTo>
                      <a:pt x="61" y="314"/>
                    </a:lnTo>
                    <a:lnTo>
                      <a:pt x="61" y="314"/>
                    </a:lnTo>
                    <a:lnTo>
                      <a:pt x="66" y="313"/>
                    </a:lnTo>
                    <a:lnTo>
                      <a:pt x="71" y="311"/>
                    </a:lnTo>
                    <a:lnTo>
                      <a:pt x="73" y="306"/>
                    </a:lnTo>
                    <a:lnTo>
                      <a:pt x="74" y="300"/>
                    </a:lnTo>
                    <a:lnTo>
                      <a:pt x="74" y="148"/>
                    </a:lnTo>
                    <a:lnTo>
                      <a:pt x="75" y="148"/>
                    </a:lnTo>
                    <a:lnTo>
                      <a:pt x="84" y="0"/>
                    </a:lnTo>
                    <a:lnTo>
                      <a:pt x="63" y="0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5D2F74D-317F-9607-DA25-B183269381A9}"/>
                </a:ext>
              </a:extLst>
            </p:cNvPr>
            <p:cNvSpPr txBox="1"/>
            <p:nvPr/>
          </p:nvSpPr>
          <p:spPr>
            <a:xfrm>
              <a:off x="5718680" y="4049764"/>
              <a:ext cx="884151" cy="507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sz="2400" dirty="0"/>
                <a:t>78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249EAB8-071D-F947-3736-1217C4F4CB50}"/>
              </a:ext>
            </a:extLst>
          </p:cNvPr>
          <p:cNvGrpSpPr/>
          <p:nvPr/>
        </p:nvGrpSpPr>
        <p:grpSpPr>
          <a:xfrm>
            <a:off x="4021015" y="3669323"/>
            <a:ext cx="410308" cy="410308"/>
            <a:chOff x="4021015" y="3669323"/>
            <a:chExt cx="410308" cy="410308"/>
          </a:xfrm>
        </p:grpSpPr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96925C83-084A-80CC-F2A8-B272E5983ABE}"/>
                </a:ext>
              </a:extLst>
            </p:cNvPr>
            <p:cNvCxnSpPr/>
            <p:nvPr/>
          </p:nvCxnSpPr>
          <p:spPr>
            <a:xfrm>
              <a:off x="4021015" y="3692769"/>
              <a:ext cx="0" cy="3868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470D0E69-2D87-F35D-01A7-5079E0669196}"/>
                </a:ext>
              </a:extLst>
            </p:cNvPr>
            <p:cNvCxnSpPr/>
            <p:nvPr/>
          </p:nvCxnSpPr>
          <p:spPr>
            <a:xfrm flipV="1">
              <a:off x="4431323" y="3669323"/>
              <a:ext cx="0" cy="41030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2160669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1c9ac4c4-e96a-4f51-bb39-c913fdb73df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  <p:tag name="EE4P_TEMPLATEMAST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  <p:tag name="EE4P_TEMPLATEMAST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  <p:tag name="EE4P_TEMPLATEMAST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  <p:tag name="EE4P_TEMPLATEMAST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  <p:tag name="EE4P_TEMPLATEMAST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heme/theme1.xml><?xml version="1.0" encoding="utf-8"?>
<a:theme xmlns:a="http://schemas.openxmlformats.org/drawingml/2006/main" name="HannoverRe 2024 Blue">
  <a:themeElements>
    <a:clrScheme name="HannoverRe_Blue">
      <a:dk1>
        <a:sysClr val="windowText" lastClr="000000"/>
      </a:dk1>
      <a:lt1>
        <a:sysClr val="window" lastClr="FFFFFF"/>
      </a:lt1>
      <a:dk2>
        <a:srgbClr val="003C70"/>
      </a:dk2>
      <a:lt2>
        <a:srgbClr val="C1D5FF"/>
      </a:lt2>
      <a:accent1>
        <a:srgbClr val="0077D4"/>
      </a:accent1>
      <a:accent2>
        <a:srgbClr val="846CFF"/>
      </a:accent2>
      <a:accent3>
        <a:srgbClr val="CE4169"/>
      </a:accent3>
      <a:accent4>
        <a:srgbClr val="858900"/>
      </a:accent4>
      <a:accent5>
        <a:srgbClr val="5FA04D"/>
      </a:accent5>
      <a:accent6>
        <a:srgbClr val="919191"/>
      </a:accent6>
      <a:hlink>
        <a:srgbClr val="003C70"/>
      </a:hlink>
      <a:folHlink>
        <a:srgbClr val="003C70"/>
      </a:folHlink>
    </a:clrScheme>
    <a:fontScheme name="Archivo">
      <a:majorFont>
        <a:latin typeface="Archivo"/>
        <a:ea typeface=""/>
        <a:cs typeface=""/>
      </a:majorFont>
      <a:minorFont>
        <a:latin typeface="Archiv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E4169"/>
        </a:solidFill>
        <a:ln w="12700" cap="flat">
          <a:noFill/>
          <a:prstDash val="solid"/>
          <a:miter/>
        </a:ln>
      </a:spPr>
      <a:bodyPr tIns="90000" bIns="90000" rtlCol="0" anchor="ctr"/>
      <a:lstStyle>
        <a:defPPr algn="ctr">
          <a:defRPr sz="2000" dirty="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Blue 85">
      <a:srgbClr val="C1D5FF"/>
    </a:custClr>
    <a:custClr name="Purple 85">
      <a:srgbClr val="D4CFFF"/>
    </a:custClr>
    <a:custClr name="Red 85">
      <a:srgbClr val="FFC6D0"/>
    </a:custClr>
    <a:custClr name="Lime 85">
      <a:srgbClr val="D6DD00"/>
    </a:custClr>
    <a:custClr name="Green 85">
      <a:srgbClr val="8EEA74"/>
    </a:custClr>
    <a:custClr name="Gray 85">
      <a:srgbClr val="D4D4D4"/>
    </a:custClr>
    <a:custClr name="Gray 95">
      <a:srgbClr val="F1F1F1"/>
    </a:custClr>
    <a:custClr>
      <a:srgbClr val="FFFFFF"/>
    </a:custClr>
    <a:custClr>
      <a:srgbClr val="FFFFFF"/>
    </a:custClr>
    <a:custClr>
      <a:srgbClr val="FFFFFF"/>
    </a:custClr>
    <a:custClr name="Blue 50">
      <a:srgbClr val="0077D4"/>
    </a:custClr>
    <a:custClr name="Purple 50">
      <a:srgbClr val="7658FF"/>
    </a:custClr>
    <a:custClr name="Red 50">
      <a:srgbClr val="CE4169"/>
    </a:custClr>
    <a:custClr name="Lime 50">
      <a:srgbClr val="777B00"/>
    </a:custClr>
    <a:custClr name="Green 50">
      <a:srgbClr val="4D823E"/>
    </a:custClr>
    <a:custClr name="Gray 50">
      <a:srgbClr val="7777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">
      <a:srgbClr val="003C70"/>
    </a:custClr>
    <a:custClr name="Purple 25">
      <a:srgbClr val="3B2398"/>
    </a:custClr>
    <a:custClr name="Red 25">
      <a:srgbClr val="721833"/>
    </a:custClr>
    <a:custClr name="Lime 25">
      <a:srgbClr val="3C3E00"/>
    </a:custClr>
    <a:custClr name="Green 25">
      <a:srgbClr val="25421C"/>
    </a:custClr>
    <a:custClr name="Gray 25">
      <a:srgbClr val="3B3B3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HRe_20240626" id="{6E179243-0B5B-43F4-9F46-1EE9421F6A4B}" vid="{1C3B1F63-DB27-468D-8395-33CC0016168F}"/>
    </a:ext>
  </a:extLst>
</a:theme>
</file>

<file path=ppt/theme/theme2.xml><?xml version="1.0" encoding="utf-8"?>
<a:theme xmlns:a="http://schemas.openxmlformats.org/drawingml/2006/main" name="HannoverRe 2024 Lime">
  <a:themeElements>
    <a:clrScheme name="HannoverRe Lime">
      <a:dk1>
        <a:sysClr val="windowText" lastClr="000000"/>
      </a:dk1>
      <a:lt1>
        <a:sysClr val="window" lastClr="FFFFFF"/>
      </a:lt1>
      <a:dk2>
        <a:srgbClr val="003C70"/>
      </a:dk2>
      <a:lt2>
        <a:srgbClr val="C1D5FF"/>
      </a:lt2>
      <a:accent1>
        <a:srgbClr val="858900"/>
      </a:accent1>
      <a:accent2>
        <a:srgbClr val="5FA04D"/>
      </a:accent2>
      <a:accent3>
        <a:srgbClr val="0077D4"/>
      </a:accent3>
      <a:accent4>
        <a:srgbClr val="846CFF"/>
      </a:accent4>
      <a:accent5>
        <a:srgbClr val="CE4169"/>
      </a:accent5>
      <a:accent6>
        <a:srgbClr val="919191"/>
      </a:accent6>
      <a:hlink>
        <a:srgbClr val="003C70"/>
      </a:hlink>
      <a:folHlink>
        <a:srgbClr val="003C70"/>
      </a:folHlink>
    </a:clrScheme>
    <a:fontScheme name="Archivo">
      <a:majorFont>
        <a:latin typeface="Archivo"/>
        <a:ea typeface=""/>
        <a:cs typeface=""/>
      </a:majorFont>
      <a:minorFont>
        <a:latin typeface="Archiv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E4169"/>
        </a:solidFill>
        <a:ln w="12700" cap="flat">
          <a:noFill/>
          <a:prstDash val="solid"/>
          <a:miter/>
        </a:ln>
      </a:spPr>
      <a:bodyPr tIns="90000" bIns="90000" rtlCol="0" anchor="ctr"/>
      <a:lstStyle>
        <a:defPPr algn="ctr">
          <a:defRPr sz="2000" dirty="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Blue 85">
      <a:srgbClr val="C1D5FF"/>
    </a:custClr>
    <a:custClr name="Purple 85">
      <a:srgbClr val="D4CFFF"/>
    </a:custClr>
    <a:custClr name="Red 85">
      <a:srgbClr val="FFC6D0"/>
    </a:custClr>
    <a:custClr name="Lime 85">
      <a:srgbClr val="D6DD00"/>
    </a:custClr>
    <a:custClr name="Green 85">
      <a:srgbClr val="8EEA74"/>
    </a:custClr>
    <a:custClr name="Gray 85">
      <a:srgbClr val="D4D4D4"/>
    </a:custClr>
    <a:custClr name="Gray 95">
      <a:srgbClr val="F1F1F1"/>
    </a:custClr>
    <a:custClr>
      <a:srgbClr val="FFFFFF"/>
    </a:custClr>
    <a:custClr>
      <a:srgbClr val="FFFFFF"/>
    </a:custClr>
    <a:custClr>
      <a:srgbClr val="FFFFFF"/>
    </a:custClr>
    <a:custClr name="Blue 50">
      <a:srgbClr val="0077D4"/>
    </a:custClr>
    <a:custClr name="Purple 50">
      <a:srgbClr val="7658FF"/>
    </a:custClr>
    <a:custClr name="Red 50">
      <a:srgbClr val="CE4169"/>
    </a:custClr>
    <a:custClr name="Lime 50">
      <a:srgbClr val="777B00"/>
    </a:custClr>
    <a:custClr name="Green 50">
      <a:srgbClr val="4D823E"/>
    </a:custClr>
    <a:custClr name="Gray 50">
      <a:srgbClr val="7777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">
      <a:srgbClr val="003C70"/>
    </a:custClr>
    <a:custClr name="Purple 25">
      <a:srgbClr val="3B2398"/>
    </a:custClr>
    <a:custClr name="Red 25">
      <a:srgbClr val="721833"/>
    </a:custClr>
    <a:custClr name="Lime 25">
      <a:srgbClr val="3C3E00"/>
    </a:custClr>
    <a:custClr name="Green 25">
      <a:srgbClr val="25421C"/>
    </a:custClr>
    <a:custClr name="Gray 25">
      <a:srgbClr val="3B3B3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HRe_20240626" id="{6E179243-0B5B-43F4-9F46-1EE9421F6A4B}" vid="{660454D5-EB35-4FDC-AC36-0D366361F6EF}"/>
    </a:ext>
  </a:extLst>
</a:theme>
</file>

<file path=ppt/theme/theme3.xml><?xml version="1.0" encoding="utf-8"?>
<a:theme xmlns:a="http://schemas.openxmlformats.org/drawingml/2006/main" name="HannoverRe 2024 Green">
  <a:themeElements>
    <a:clrScheme name="HannoverRe Green">
      <a:dk1>
        <a:sysClr val="windowText" lastClr="000000"/>
      </a:dk1>
      <a:lt1>
        <a:sysClr val="window" lastClr="FFFFFF"/>
      </a:lt1>
      <a:dk2>
        <a:srgbClr val="003C70"/>
      </a:dk2>
      <a:lt2>
        <a:srgbClr val="C1D5FF"/>
      </a:lt2>
      <a:accent1>
        <a:srgbClr val="5FA04D"/>
      </a:accent1>
      <a:accent2>
        <a:srgbClr val="0077D4"/>
      </a:accent2>
      <a:accent3>
        <a:srgbClr val="846CFF"/>
      </a:accent3>
      <a:accent4>
        <a:srgbClr val="CE4169"/>
      </a:accent4>
      <a:accent5>
        <a:srgbClr val="858900"/>
      </a:accent5>
      <a:accent6>
        <a:srgbClr val="919191"/>
      </a:accent6>
      <a:hlink>
        <a:srgbClr val="003C70"/>
      </a:hlink>
      <a:folHlink>
        <a:srgbClr val="003C70"/>
      </a:folHlink>
    </a:clrScheme>
    <a:fontScheme name="Archivo">
      <a:majorFont>
        <a:latin typeface="Archivo"/>
        <a:ea typeface=""/>
        <a:cs typeface=""/>
      </a:majorFont>
      <a:minorFont>
        <a:latin typeface="Archiv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E4169"/>
        </a:solidFill>
        <a:ln w="12700" cap="flat">
          <a:noFill/>
          <a:prstDash val="solid"/>
          <a:miter/>
        </a:ln>
      </a:spPr>
      <a:bodyPr tIns="90000" bIns="90000" rtlCol="0" anchor="ctr"/>
      <a:lstStyle>
        <a:defPPr algn="ctr">
          <a:defRPr sz="2000" dirty="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Blue 85">
      <a:srgbClr val="C1D5FF"/>
    </a:custClr>
    <a:custClr name="Purple 85">
      <a:srgbClr val="D4CFFF"/>
    </a:custClr>
    <a:custClr name="Red 85">
      <a:srgbClr val="FFC6D0"/>
    </a:custClr>
    <a:custClr name="Lime 85">
      <a:srgbClr val="D6DD00"/>
    </a:custClr>
    <a:custClr name="Green 85">
      <a:srgbClr val="8EEA74"/>
    </a:custClr>
    <a:custClr name="Gray 85">
      <a:srgbClr val="D4D4D4"/>
    </a:custClr>
    <a:custClr name="Gray 95">
      <a:srgbClr val="F1F1F1"/>
    </a:custClr>
    <a:custClr>
      <a:srgbClr val="FFFFFF"/>
    </a:custClr>
    <a:custClr>
      <a:srgbClr val="FFFFFF"/>
    </a:custClr>
    <a:custClr>
      <a:srgbClr val="FFFFFF"/>
    </a:custClr>
    <a:custClr name="Blue 50">
      <a:srgbClr val="0077D4"/>
    </a:custClr>
    <a:custClr name="Purple 50">
      <a:srgbClr val="7658FF"/>
    </a:custClr>
    <a:custClr name="Red 50">
      <a:srgbClr val="CE4169"/>
    </a:custClr>
    <a:custClr name="Lime 50">
      <a:srgbClr val="777B00"/>
    </a:custClr>
    <a:custClr name="Green 50">
      <a:srgbClr val="4D823E"/>
    </a:custClr>
    <a:custClr name="Gray 50">
      <a:srgbClr val="7777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">
      <a:srgbClr val="003C70"/>
    </a:custClr>
    <a:custClr name="Purple 25">
      <a:srgbClr val="3B2398"/>
    </a:custClr>
    <a:custClr name="Red 25">
      <a:srgbClr val="721833"/>
    </a:custClr>
    <a:custClr name="Lime 25">
      <a:srgbClr val="3C3E00"/>
    </a:custClr>
    <a:custClr name="Green 25">
      <a:srgbClr val="25421C"/>
    </a:custClr>
    <a:custClr name="Gray 25">
      <a:srgbClr val="3B3B3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HRe_20240626" id="{6E179243-0B5B-43F4-9F46-1EE9421F6A4B}" vid="{6A489222-F270-489C-B428-6D0DE9E5C9E8}"/>
    </a:ext>
  </a:extLst>
</a:theme>
</file>

<file path=ppt/theme/theme4.xml><?xml version="1.0" encoding="utf-8"?>
<a:theme xmlns:a="http://schemas.openxmlformats.org/drawingml/2006/main" name="HannoverRe 2024 Purple">
  <a:themeElements>
    <a:clrScheme name="HannoverRe purple">
      <a:dk1>
        <a:sysClr val="windowText" lastClr="000000"/>
      </a:dk1>
      <a:lt1>
        <a:sysClr val="window" lastClr="FFFFFF"/>
      </a:lt1>
      <a:dk2>
        <a:srgbClr val="003C70"/>
      </a:dk2>
      <a:lt2>
        <a:srgbClr val="C1D5FF"/>
      </a:lt2>
      <a:accent1>
        <a:srgbClr val="846CFF"/>
      </a:accent1>
      <a:accent2>
        <a:srgbClr val="CE4169"/>
      </a:accent2>
      <a:accent3>
        <a:srgbClr val="858900"/>
      </a:accent3>
      <a:accent4>
        <a:srgbClr val="5FA04D"/>
      </a:accent4>
      <a:accent5>
        <a:srgbClr val="0077D4"/>
      </a:accent5>
      <a:accent6>
        <a:srgbClr val="919191"/>
      </a:accent6>
      <a:hlink>
        <a:srgbClr val="003C70"/>
      </a:hlink>
      <a:folHlink>
        <a:srgbClr val="003C70"/>
      </a:folHlink>
    </a:clrScheme>
    <a:fontScheme name="Archivo">
      <a:majorFont>
        <a:latin typeface="Archivo"/>
        <a:ea typeface=""/>
        <a:cs typeface=""/>
      </a:majorFont>
      <a:minorFont>
        <a:latin typeface="Archiv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E4169"/>
        </a:solidFill>
        <a:ln w="12700" cap="flat">
          <a:noFill/>
          <a:prstDash val="solid"/>
          <a:miter/>
        </a:ln>
      </a:spPr>
      <a:bodyPr tIns="90000" bIns="90000" rtlCol="0" anchor="ctr"/>
      <a:lstStyle>
        <a:defPPr algn="ctr">
          <a:defRPr sz="2000" dirty="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Blue 85">
      <a:srgbClr val="C1D5FF"/>
    </a:custClr>
    <a:custClr name="Purple 85">
      <a:srgbClr val="D4CFFF"/>
    </a:custClr>
    <a:custClr name="Red 85">
      <a:srgbClr val="FFC6D0"/>
    </a:custClr>
    <a:custClr name="Lime 85">
      <a:srgbClr val="D6DD00"/>
    </a:custClr>
    <a:custClr name="Green 85">
      <a:srgbClr val="8EEA74"/>
    </a:custClr>
    <a:custClr name="Gray 85">
      <a:srgbClr val="D4D4D4"/>
    </a:custClr>
    <a:custClr name="Gray 95">
      <a:srgbClr val="F1F1F1"/>
    </a:custClr>
    <a:custClr>
      <a:srgbClr val="FFFFFF"/>
    </a:custClr>
    <a:custClr>
      <a:srgbClr val="FFFFFF"/>
    </a:custClr>
    <a:custClr>
      <a:srgbClr val="FFFFFF"/>
    </a:custClr>
    <a:custClr name="Blue 50">
      <a:srgbClr val="0077D4"/>
    </a:custClr>
    <a:custClr name="Purple 50">
      <a:srgbClr val="7658FF"/>
    </a:custClr>
    <a:custClr name="Red 50">
      <a:srgbClr val="CE4169"/>
    </a:custClr>
    <a:custClr name="Lime 50">
      <a:srgbClr val="777B00"/>
    </a:custClr>
    <a:custClr name="Green 50">
      <a:srgbClr val="4D823E"/>
    </a:custClr>
    <a:custClr name="Gray 50">
      <a:srgbClr val="7777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">
      <a:srgbClr val="003C70"/>
    </a:custClr>
    <a:custClr name="Purple 25">
      <a:srgbClr val="3B2398"/>
    </a:custClr>
    <a:custClr name="Red 25">
      <a:srgbClr val="721833"/>
    </a:custClr>
    <a:custClr name="Lime 25">
      <a:srgbClr val="3C3E00"/>
    </a:custClr>
    <a:custClr name="Green 25">
      <a:srgbClr val="25421C"/>
    </a:custClr>
    <a:custClr name="Gray 25">
      <a:srgbClr val="3B3B3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HRe_20240626" id="{6E179243-0B5B-43F4-9F46-1EE9421F6A4B}" vid="{9FF30A20-FB25-44FF-8124-CB6FC50A9176}"/>
    </a:ext>
  </a:extLst>
</a:theme>
</file>

<file path=ppt/theme/theme5.xml><?xml version="1.0" encoding="utf-8"?>
<a:theme xmlns:a="http://schemas.openxmlformats.org/drawingml/2006/main" name="HannoverRe 2024 Red">
  <a:themeElements>
    <a:clrScheme name="HannoverRe Red">
      <a:dk1>
        <a:sysClr val="windowText" lastClr="000000"/>
      </a:dk1>
      <a:lt1>
        <a:sysClr val="window" lastClr="FFFFFF"/>
      </a:lt1>
      <a:dk2>
        <a:srgbClr val="003C70"/>
      </a:dk2>
      <a:lt2>
        <a:srgbClr val="C1D5FF"/>
      </a:lt2>
      <a:accent1>
        <a:srgbClr val="CE4169"/>
      </a:accent1>
      <a:accent2>
        <a:srgbClr val="858900"/>
      </a:accent2>
      <a:accent3>
        <a:srgbClr val="5FA04D"/>
      </a:accent3>
      <a:accent4>
        <a:srgbClr val="0077D4"/>
      </a:accent4>
      <a:accent5>
        <a:srgbClr val="846CFF"/>
      </a:accent5>
      <a:accent6>
        <a:srgbClr val="919191"/>
      </a:accent6>
      <a:hlink>
        <a:srgbClr val="003C70"/>
      </a:hlink>
      <a:folHlink>
        <a:srgbClr val="003C70"/>
      </a:folHlink>
    </a:clrScheme>
    <a:fontScheme name="Archivo">
      <a:majorFont>
        <a:latin typeface="Archivo"/>
        <a:ea typeface=""/>
        <a:cs typeface=""/>
      </a:majorFont>
      <a:minorFont>
        <a:latin typeface="Archiv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E4169"/>
        </a:solidFill>
        <a:ln w="12700" cap="flat">
          <a:noFill/>
          <a:prstDash val="solid"/>
          <a:miter/>
        </a:ln>
      </a:spPr>
      <a:bodyPr tIns="90000" bIns="90000" rtlCol="0" anchor="ctr"/>
      <a:lstStyle>
        <a:defPPr algn="ctr">
          <a:defRPr sz="2000" dirty="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Blue 85">
      <a:srgbClr val="C1D5FF"/>
    </a:custClr>
    <a:custClr name="Purple 85">
      <a:srgbClr val="D4CFFF"/>
    </a:custClr>
    <a:custClr name="Red 85">
      <a:srgbClr val="FFC6D0"/>
    </a:custClr>
    <a:custClr name="Lime 85">
      <a:srgbClr val="D6DD00"/>
    </a:custClr>
    <a:custClr name="Green 85">
      <a:srgbClr val="8EEA74"/>
    </a:custClr>
    <a:custClr name="Gray 85">
      <a:srgbClr val="D4D4D4"/>
    </a:custClr>
    <a:custClr name="Gray 95">
      <a:srgbClr val="F1F1F1"/>
    </a:custClr>
    <a:custClr>
      <a:srgbClr val="FFFFFF"/>
    </a:custClr>
    <a:custClr>
      <a:srgbClr val="FFFFFF"/>
    </a:custClr>
    <a:custClr>
      <a:srgbClr val="FFFFFF"/>
    </a:custClr>
    <a:custClr name="Blue 50">
      <a:srgbClr val="0077D4"/>
    </a:custClr>
    <a:custClr name="Purple 50">
      <a:srgbClr val="7658FF"/>
    </a:custClr>
    <a:custClr name="Red 50">
      <a:srgbClr val="CE4169"/>
    </a:custClr>
    <a:custClr name="Lime 50">
      <a:srgbClr val="777B00"/>
    </a:custClr>
    <a:custClr name="Green 50">
      <a:srgbClr val="4D823E"/>
    </a:custClr>
    <a:custClr name="Gray 50">
      <a:srgbClr val="7777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">
      <a:srgbClr val="003C70"/>
    </a:custClr>
    <a:custClr name="Purple 25">
      <a:srgbClr val="3B2398"/>
    </a:custClr>
    <a:custClr name="Red 25">
      <a:srgbClr val="721833"/>
    </a:custClr>
    <a:custClr name="Lime 25">
      <a:srgbClr val="3C3E00"/>
    </a:custClr>
    <a:custClr name="Green 25">
      <a:srgbClr val="25421C"/>
    </a:custClr>
    <a:custClr name="Gray 25">
      <a:srgbClr val="3B3B3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HRe_20240626" id="{6E179243-0B5B-43F4-9F46-1EE9421F6A4B}" vid="{34624C4B-DF6B-41EE-898E-06856C90AC62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Re_2024</Template>
  <TotalTime>3458</TotalTime>
  <Words>1448</Words>
  <Application>Microsoft Office PowerPoint</Application>
  <PresentationFormat>Widescreen</PresentationFormat>
  <Paragraphs>237</Paragraphs>
  <Slides>2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ptos</vt:lpstr>
      <vt:lpstr>Archivo</vt:lpstr>
      <vt:lpstr>Arial</vt:lpstr>
      <vt:lpstr>Symbol</vt:lpstr>
      <vt:lpstr>HannoverRe 2024 Blue</vt:lpstr>
      <vt:lpstr>HannoverRe 2024 Lime</vt:lpstr>
      <vt:lpstr>HannoverRe 2024 Green</vt:lpstr>
      <vt:lpstr>HannoverRe 2024 Purple</vt:lpstr>
      <vt:lpstr>HannoverRe 2024 Red</vt:lpstr>
      <vt:lpstr>think-cell Folie</vt:lpstr>
      <vt:lpstr>Vivir más, Asegurar mejor El reto de la Longevidad </vt:lpstr>
      <vt:lpstr> Comencemos con una pregunta…</vt:lpstr>
      <vt:lpstr> Resultados…</vt:lpstr>
      <vt:lpstr> ¿Cómo se ha comportado la esperanza de vida? </vt:lpstr>
      <vt:lpstr> Mortalidad por Cohortes</vt:lpstr>
      <vt:lpstr> Mortalidad por Cohortes</vt:lpstr>
      <vt:lpstr> Hechos en la Mortalidad</vt:lpstr>
      <vt:lpstr> Hechos en la Mortalidad</vt:lpstr>
      <vt:lpstr> Hechos en la Mortalidad</vt:lpstr>
      <vt:lpstr> Panorama</vt:lpstr>
      <vt:lpstr> Spans</vt:lpstr>
      <vt:lpstr> En términos de supervivencia</vt:lpstr>
      <vt:lpstr> Spans en Costo</vt:lpstr>
      <vt:lpstr> Pirámide Poblacional</vt:lpstr>
      <vt:lpstr>Pirámida poblacional</vt:lpstr>
      <vt:lpstr> ¿Qué podemos esperar?</vt:lpstr>
      <vt:lpstr> Tendencias</vt:lpstr>
      <vt:lpstr> ¿Cómo afecta a las aseguradoras?</vt:lpstr>
      <vt:lpstr> El reto para las aseguradoras </vt:lpstr>
      <vt:lpstr> 30 años de experiencia</vt:lpstr>
      <vt:lpstr> Entonces…</vt:lpstr>
      <vt:lpstr>PowerPoint Presentation</vt:lpstr>
    </vt:vector>
  </TitlesOfParts>
  <Company>hannover 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vir más, Asegurar mejor El reto de la Longevidad</dc:title>
  <dc:creator>Bryan Urbano</dc:creator>
  <cp:lastModifiedBy>Bryan Urbano</cp:lastModifiedBy>
  <cp:revision>1</cp:revision>
  <dcterms:created xsi:type="dcterms:W3CDTF">2025-09-22T04:59:36Z</dcterms:created>
  <dcterms:modified xsi:type="dcterms:W3CDTF">2025-09-24T14:38:26Z</dcterms:modified>
</cp:coreProperties>
</file>